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media/image9.jpg" ContentType="image/jpeg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</p:sldMasterIdLst>
  <p:notesMasterIdLst>
    <p:notesMasterId r:id="rId7"/>
  </p:notesMasterIdLst>
  <p:sldIdLst>
    <p:sldId id="512" r:id="rId3"/>
    <p:sldId id="502" r:id="rId4"/>
    <p:sldId id="503" r:id="rId5"/>
    <p:sldId id="504" r:id="rId6"/>
  </p:sldIdLst>
  <p:sldSz cx="16256000" cy="9144000"/>
  <p:notesSz cx="9236075" cy="70104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80403"/>
    <a:srgbClr val="F79646"/>
    <a:srgbClr val="558ED5"/>
    <a:srgbClr val="844EBC"/>
    <a:srgbClr val="C0504D"/>
    <a:srgbClr val="E46C0A"/>
    <a:srgbClr val="17375E"/>
    <a:srgbClr val="B695D7"/>
    <a:srgbClr val="3A5283"/>
    <a:srgbClr val="F3F2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422" autoAdjust="0"/>
    <p:restoredTop sz="94679"/>
  </p:normalViewPr>
  <p:slideViewPr>
    <p:cSldViewPr>
      <p:cViewPr varScale="1">
        <p:scale>
          <a:sx n="75" d="100"/>
          <a:sy n="75" d="100"/>
        </p:scale>
        <p:origin x="1376" y="160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01999" cy="351737"/>
          </a:xfrm>
          <a:prstGeom prst="rect">
            <a:avLst/>
          </a:prstGeom>
        </p:spPr>
        <p:txBody>
          <a:bodyPr vert="horz" lIns="58485" tIns="29243" rIns="58485" bIns="29243" rtlCol="0"/>
          <a:lstStyle>
            <a:lvl1pPr algn="l">
              <a:defRPr sz="8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231371" y="0"/>
            <a:ext cx="4002900" cy="351737"/>
          </a:xfrm>
          <a:prstGeom prst="rect">
            <a:avLst/>
          </a:prstGeom>
        </p:spPr>
        <p:txBody>
          <a:bodyPr vert="horz" lIns="58485" tIns="29243" rIns="58485" bIns="29243" rtlCol="0"/>
          <a:lstStyle>
            <a:lvl1pPr algn="r">
              <a:defRPr sz="800"/>
            </a:lvl1pPr>
          </a:lstStyle>
          <a:p>
            <a:fld id="{56CC6094-6E49-4737-9FCD-16CADAB21296}" type="datetimeFigureOut">
              <a:rPr lang="ru-RU" smtClean="0"/>
              <a:t>03.06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516188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58485" tIns="29243" rIns="58485" bIns="29243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23608" y="3373755"/>
            <a:ext cx="7388860" cy="2760345"/>
          </a:xfrm>
          <a:prstGeom prst="rect">
            <a:avLst/>
          </a:prstGeom>
        </p:spPr>
        <p:txBody>
          <a:bodyPr vert="horz" lIns="58485" tIns="29243" rIns="58485" bIns="29243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01999" cy="351737"/>
          </a:xfrm>
          <a:prstGeom prst="rect">
            <a:avLst/>
          </a:prstGeom>
        </p:spPr>
        <p:txBody>
          <a:bodyPr vert="horz" lIns="58485" tIns="29243" rIns="58485" bIns="29243" rtlCol="0" anchor="b"/>
          <a:lstStyle>
            <a:lvl1pPr algn="l">
              <a:defRPr sz="8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231371" y="6658664"/>
            <a:ext cx="4002900" cy="351737"/>
          </a:xfrm>
          <a:prstGeom prst="rect">
            <a:avLst/>
          </a:prstGeom>
        </p:spPr>
        <p:txBody>
          <a:bodyPr vert="horz" lIns="58485" tIns="29243" rIns="58485" bIns="29243" rtlCol="0" anchor="b"/>
          <a:lstStyle>
            <a:lvl1pPr algn="r">
              <a:defRPr sz="800"/>
            </a:lvl1pPr>
          </a:lstStyle>
          <a:p>
            <a:fld id="{92045DD2-32C9-476A-932C-277C65CA27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55376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045DD2-32C9-476A-932C-277C65CA2716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49801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045DD2-32C9-476A-932C-277C65CA2716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7661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image" Target="../media/image1.emf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oleObject" Target="../embeddings/oleObject6.bin"/><Relationship Id="rId2" Type="http://schemas.openxmlformats.org/officeDocument/2006/relationships/tags" Target="../tags/tag82.xml"/><Relationship Id="rId1" Type="http://schemas.openxmlformats.org/officeDocument/2006/relationships/vmlDrawing" Target="../drawings/vmlDrawing6.vml"/><Relationship Id="rId6" Type="http://schemas.openxmlformats.org/officeDocument/2006/relationships/tags" Target="../tags/tag86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85.xml"/><Relationship Id="rId10" Type="http://schemas.openxmlformats.org/officeDocument/2006/relationships/tags" Target="../tags/tag90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image" Target="../media/image1.emf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oleObject" Target="../embeddings/oleObject7.bin"/><Relationship Id="rId2" Type="http://schemas.openxmlformats.org/officeDocument/2006/relationships/tags" Target="../tags/tag91.xml"/><Relationship Id="rId1" Type="http://schemas.openxmlformats.org/officeDocument/2006/relationships/vmlDrawing" Target="../drawings/vmlDrawing7.vml"/><Relationship Id="rId6" Type="http://schemas.openxmlformats.org/officeDocument/2006/relationships/tags" Target="../tags/tag95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94.xml"/><Relationship Id="rId10" Type="http://schemas.openxmlformats.org/officeDocument/2006/relationships/tags" Target="../tags/tag99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image" Target="../media/image7.emf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12" Type="http://schemas.openxmlformats.org/officeDocument/2006/relationships/oleObject" Target="../embeddings/oleObject8.bin"/><Relationship Id="rId2" Type="http://schemas.openxmlformats.org/officeDocument/2006/relationships/tags" Target="../tags/tag100.xml"/><Relationship Id="rId1" Type="http://schemas.openxmlformats.org/officeDocument/2006/relationships/vmlDrawing" Target="../drawings/vmlDrawing8.vml"/><Relationship Id="rId6" Type="http://schemas.openxmlformats.org/officeDocument/2006/relationships/tags" Target="../tags/tag104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03.xml"/><Relationship Id="rId10" Type="http://schemas.openxmlformats.org/officeDocument/2006/relationships/tags" Target="../tags/tag108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image" Target="../media/image7.emf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oleObject" Target="../embeddings/oleObject9.bin"/><Relationship Id="rId2" Type="http://schemas.openxmlformats.org/officeDocument/2006/relationships/tags" Target="../tags/tag109.xml"/><Relationship Id="rId1" Type="http://schemas.openxmlformats.org/officeDocument/2006/relationships/vmlDrawing" Target="../drawings/vmlDrawing9.vml"/><Relationship Id="rId6" Type="http://schemas.openxmlformats.org/officeDocument/2006/relationships/tags" Target="../tags/tag113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13" Type="http://schemas.openxmlformats.org/officeDocument/2006/relationships/image" Target="../media/image1.emf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118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22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21.xml"/><Relationship Id="rId10" Type="http://schemas.openxmlformats.org/officeDocument/2006/relationships/tags" Target="../tags/tag126.xml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12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10" Type="http://schemas.openxmlformats.org/officeDocument/2006/relationships/image" Target="../media/image4.png"/><Relationship Id="rId4" Type="http://schemas.openxmlformats.org/officeDocument/2006/relationships/tags" Target="../tags/tag129.xml"/><Relationship Id="rId9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5.emf"/><Relationship Id="rId2" Type="http://schemas.openxmlformats.org/officeDocument/2006/relationships/tags" Target="../tags/tag13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5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.vml"/><Relationship Id="rId6" Type="http://schemas.openxmlformats.org/officeDocument/2006/relationships/tags" Target="../tags/tag60.xml"/><Relationship Id="rId11" Type="http://schemas.openxmlformats.org/officeDocument/2006/relationships/image" Target="../media/image4.png"/><Relationship Id="rId5" Type="http://schemas.openxmlformats.org/officeDocument/2006/relationships/tags" Target="../tags/tag59.xml"/><Relationship Id="rId10" Type="http://schemas.openxmlformats.org/officeDocument/2006/relationships/image" Target="../media/image6.jpg"/><Relationship Id="rId4" Type="http://schemas.openxmlformats.org/officeDocument/2006/relationships/tags" Target="../tags/tag58.xml"/><Relationship Id="rId9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3.vml"/><Relationship Id="rId6" Type="http://schemas.openxmlformats.org/officeDocument/2006/relationships/tags" Target="../tags/tag65.xml"/><Relationship Id="rId11" Type="http://schemas.openxmlformats.org/officeDocument/2006/relationships/oleObject" Target="../embeddings/oleObject3.bin"/><Relationship Id="rId5" Type="http://schemas.openxmlformats.org/officeDocument/2006/relationships/tags" Target="../tags/tag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3.xml"/><Relationship Id="rId9" Type="http://schemas.openxmlformats.org/officeDocument/2006/relationships/tags" Target="../tags/tag68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7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vmlDrawing" Target="../drawings/vmlDrawing4.v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10" Type="http://schemas.openxmlformats.org/officeDocument/2006/relationships/image" Target="../media/image4.png"/><Relationship Id="rId4" Type="http://schemas.openxmlformats.org/officeDocument/2006/relationships/tags" Target="../tags/tag71.xml"/><Relationship Id="rId9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5.emf"/><Relationship Id="rId2" Type="http://schemas.openxmlformats.org/officeDocument/2006/relationships/tags" Target="../tags/tag74.xml"/><Relationship Id="rId1" Type="http://schemas.openxmlformats.org/officeDocument/2006/relationships/vmlDrawing" Target="../drawings/vmlDrawing5.vml"/><Relationship Id="rId6" Type="http://schemas.openxmlformats.org/officeDocument/2006/relationships/tags" Target="../tags/tag7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7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19200" y="2834640"/>
            <a:ext cx="13817600" cy="19202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438400" y="5120640"/>
            <a:ext cx="11379200" cy="22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BCDF17-9BE0-47FA-A1B8-54FCCE453CDA}" type="datetime1">
              <a:rPr lang="en-US" smtClean="0"/>
              <a:t>6/3/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102D69"/>
                </a:solidFill>
                <a:latin typeface="Myriad Pro"/>
                <a:cs typeface="Myriad Pro"/>
              </a:defRPr>
            </a:lvl1pPr>
          </a:lstStyle>
          <a:p>
            <a:pPr marL="381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907406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0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6CD99E-3131-4720-957F-542C414AC4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en-US" sz="2933" b="1" i="0" baseline="0" dirty="0">
              <a:solidFill>
                <a:schemeClr val="bg1"/>
              </a:solidFill>
              <a:latin typeface="Arial Black" panose="020B0A04020102020204" pitchFamily="34" charset="0"/>
              <a:ea typeface="+mj-ea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51680" y="0"/>
            <a:ext cx="11704320" cy="9144000"/>
          </a:xfrm>
          <a:prstGeom prst="rect">
            <a:avLst/>
          </a:prstGeom>
          <a:solidFill>
            <a:srgbClr val="F0F0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2400" dirty="0">
              <a:solidFill>
                <a:srgbClr val="F0F0F0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057475" y="3330864"/>
            <a:ext cx="3083741" cy="1354217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sz="2933" dirty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057475" y="4752814"/>
            <a:ext cx="3083741" cy="65659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2133" b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2" name="4. Footnote" hidden="1">
            <a:extLst>
              <a:ext uri="{FF2B5EF4-FFF2-40B4-BE49-F238E27FC236}">
                <a16:creationId xmlns:a16="http://schemas.microsoft.com/office/drawing/2014/main" id="{E91B258C-2CE3-47AD-91B7-5D22A691D52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1057475" y="8441058"/>
            <a:ext cx="3083741" cy="16414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Footnotes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9E0E9C24-A775-45BA-A2B2-E9A468FB0E1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057475" y="8789935"/>
            <a:ext cx="3083741" cy="1641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Источник: …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68F48CB6-09C4-4D35-BE8C-6E84292A290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057475" y="55463"/>
            <a:ext cx="3083741" cy="1641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1067" b="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pic>
        <p:nvPicPr>
          <p:cNvPr id="23" name="Рисунок 8">
            <a:extLst>
              <a:ext uri="{FF2B5EF4-FFF2-40B4-BE49-F238E27FC236}">
                <a16:creationId xmlns:a16="http://schemas.microsoft.com/office/drawing/2014/main" id="{64B7582F-6B5C-4BDB-AD51-D68A4E11B8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print">
            <a:alphaModFix amt="17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75" t="25442" r="32534" b="38466"/>
          <a:stretch/>
        </p:blipFill>
        <p:spPr>
          <a:xfrm>
            <a:off x="14743064" y="487160"/>
            <a:ext cx="798689" cy="803177"/>
          </a:xfrm>
          <a:prstGeom prst="rect">
            <a:avLst/>
          </a:prstGeom>
        </p:spPr>
      </p:pic>
      <p:sp>
        <p:nvSpPr>
          <p:cNvPr id="24" name="object 2">
            <a:extLst>
              <a:ext uri="{FF2B5EF4-FFF2-40B4-BE49-F238E27FC236}">
                <a16:creationId xmlns:a16="http://schemas.microsoft.com/office/drawing/2014/main" id="{41D5D64D-B084-4C42-A554-1E88EA3CE45F}"/>
              </a:ext>
            </a:extLst>
          </p:cNvPr>
          <p:cNvSpPr>
            <a:spLocks/>
          </p:cNvSpPr>
          <p:nvPr userDrawn="1"/>
        </p:nvSpPr>
        <p:spPr>
          <a:xfrm>
            <a:off x="0" y="3782269"/>
            <a:ext cx="880533" cy="902811"/>
          </a:xfrm>
          <a:custGeom>
            <a:avLst/>
            <a:gdLst/>
            <a:ahLst/>
            <a:cxnLst/>
            <a:rect l="l" t="t" r="r" b="b"/>
            <a:pathLst>
              <a:path w="660400" h="965200">
                <a:moveTo>
                  <a:pt x="660400" y="0"/>
                </a:moveTo>
                <a:lnTo>
                  <a:pt x="0" y="0"/>
                </a:lnTo>
                <a:lnTo>
                  <a:pt x="0" y="965200"/>
                </a:lnTo>
                <a:lnTo>
                  <a:pt x="660400" y="965200"/>
                </a:lnTo>
                <a:lnTo>
                  <a:pt x="660400" y="0"/>
                </a:lnTo>
                <a:close/>
              </a:path>
            </a:pathLst>
          </a:custGeom>
          <a:solidFill>
            <a:srgbClr val="CB2F0D"/>
          </a:solidFill>
        </p:spPr>
        <p:txBody>
          <a:bodyPr wrap="square" lIns="0" tIns="0" rIns="0" bIns="0" rtlCol="0">
            <a:noAutofit/>
          </a:bodyPr>
          <a:lstStyle/>
          <a:p>
            <a:endParaRPr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id" hidden="1">
            <a:extLst>
              <a:ext uri="{FF2B5EF4-FFF2-40B4-BE49-F238E27FC236}">
                <a16:creationId xmlns:a16="http://schemas.microsoft.com/office/drawing/2014/main" id="{11DE53DD-F9B9-4F6C-95B2-1A2180333E0D}"/>
              </a:ext>
            </a:extLst>
          </p:cNvPr>
          <p:cNvGrpSpPr/>
          <p:nvPr userDrawn="1"/>
        </p:nvGrpSpPr>
        <p:grpSpPr>
          <a:xfrm>
            <a:off x="-663523" y="-618046"/>
            <a:ext cx="16179875" cy="8974436"/>
            <a:chOff x="-497642" y="-463534"/>
            <a:chExt cx="12134906" cy="6730827"/>
          </a:xfrm>
          <a:solidFill>
            <a:schemeClr val="accent1"/>
          </a:solidFill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9BBD91E-43B6-4D42-9C0B-57CB41E65AB5}"/>
                </a:ext>
              </a:extLst>
            </p:cNvPr>
            <p:cNvSpPr>
              <a:spLocks/>
            </p:cNvSpPr>
            <p:nvPr/>
          </p:nvSpPr>
          <p:spPr>
            <a:xfrm>
              <a:off x="793106" y="-463534"/>
              <a:ext cx="10844158" cy="318924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400"/>
                </a:spcBef>
                <a:spcAft>
                  <a:spcPts val="400"/>
                </a:spcAft>
              </a:pPr>
              <a:r>
                <a:rPr lang="en-US" sz="2133" b="1" dirty="0">
                  <a:solidFill>
                    <a:schemeClr val="bg1"/>
                  </a:solidFill>
                  <a:latin typeface="+mj-lt"/>
                </a:rPr>
                <a:t>Work area v.2</a:t>
              </a:r>
              <a:endParaRPr lang="ru-RU" sz="2133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71D7B67-F061-48BE-8B13-EB08A90AFECF}"/>
                </a:ext>
              </a:extLst>
            </p:cNvPr>
            <p:cNvSpPr>
              <a:spLocks/>
            </p:cNvSpPr>
            <p:nvPr/>
          </p:nvSpPr>
          <p:spPr>
            <a:xfrm>
              <a:off x="3721608" y="-454422"/>
              <a:ext cx="7915656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l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4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59513DE-454E-44DA-BCB5-1E69D1FCEDF5}"/>
                </a:ext>
              </a:extLst>
            </p:cNvPr>
            <p:cNvSpPr>
              <a:spLocks/>
            </p:cNvSpPr>
            <p:nvPr/>
          </p:nvSpPr>
          <p:spPr>
            <a:xfrm>
              <a:off x="4672584" y="-454422"/>
              <a:ext cx="6964680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3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CCBB33B-B3A7-4FD6-8FB6-BE61D1A0CB6C}"/>
                </a:ext>
              </a:extLst>
            </p:cNvPr>
            <p:cNvSpPr>
              <a:spLocks/>
            </p:cNvSpPr>
            <p:nvPr/>
          </p:nvSpPr>
          <p:spPr>
            <a:xfrm>
              <a:off x="6400800" y="-454422"/>
              <a:ext cx="5236464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2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AA9FD93-46F7-4BDC-9BE0-B66B76A3B623}"/>
                </a:ext>
              </a:extLst>
            </p:cNvPr>
            <p:cNvSpPr>
              <a:spLocks/>
            </p:cNvSpPr>
            <p:nvPr/>
          </p:nvSpPr>
          <p:spPr>
            <a:xfrm>
              <a:off x="8138160" y="-454422"/>
              <a:ext cx="3499104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2/3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581748C-3514-40C0-ACF5-D8FFD772D537}"/>
                </a:ext>
              </a:extLst>
            </p:cNvPr>
            <p:cNvSpPr>
              <a:spLocks/>
            </p:cNvSpPr>
            <p:nvPr/>
          </p:nvSpPr>
          <p:spPr>
            <a:xfrm>
              <a:off x="9089264" y="-463534"/>
              <a:ext cx="2548000" cy="318924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3/4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FB48EFA-1BA6-4F72-985B-E7FEA1925AF7}"/>
                </a:ext>
              </a:extLst>
            </p:cNvPr>
            <p:cNvCxnSpPr>
              <a:cxnSpLocks/>
            </p:cNvCxnSpPr>
            <p:nvPr/>
          </p:nvCxnSpPr>
          <p:spPr>
            <a:xfrm>
              <a:off x="3721608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1A8966CC-72AE-4FCE-A7C5-9180B7CD5459}"/>
                </a:ext>
              </a:extLst>
            </p:cNvPr>
            <p:cNvCxnSpPr>
              <a:cxnSpLocks/>
            </p:cNvCxnSpPr>
            <p:nvPr/>
          </p:nvCxnSpPr>
          <p:spPr>
            <a:xfrm>
              <a:off x="4672584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44911338-AC24-476F-848A-5929C67BAF24}"/>
                </a:ext>
              </a:extLst>
            </p:cNvPr>
            <p:cNvCxnSpPr>
              <a:cxnSpLocks/>
            </p:cNvCxnSpPr>
            <p:nvPr/>
          </p:nvCxnSpPr>
          <p:spPr>
            <a:xfrm>
              <a:off x="6400800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09E98508-2D35-468A-873E-58639307FB58}"/>
                </a:ext>
              </a:extLst>
            </p:cNvPr>
            <p:cNvCxnSpPr>
              <a:cxnSpLocks/>
            </p:cNvCxnSpPr>
            <p:nvPr/>
          </p:nvCxnSpPr>
          <p:spPr>
            <a:xfrm>
              <a:off x="8138160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F6276128-A408-4BCE-A933-1EE7515D25BE}"/>
                </a:ext>
              </a:extLst>
            </p:cNvPr>
            <p:cNvCxnSpPr>
              <a:cxnSpLocks/>
            </p:cNvCxnSpPr>
            <p:nvPr/>
          </p:nvCxnSpPr>
          <p:spPr>
            <a:xfrm>
              <a:off x="9089264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E33EC75-6A7C-4F68-9805-011B3A949ECB}"/>
                </a:ext>
              </a:extLst>
            </p:cNvPr>
            <p:cNvSpPr>
              <a:spLocks/>
            </p:cNvSpPr>
            <p:nvPr/>
          </p:nvSpPr>
          <p:spPr>
            <a:xfrm>
              <a:off x="-497642" y="1380931"/>
              <a:ext cx="364936" cy="4886362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r>
                <a:rPr lang="en-US" sz="2133" b="1" dirty="0">
                  <a:solidFill>
                    <a:schemeClr val="bg1"/>
                  </a:solidFill>
                  <a:latin typeface="+mj-lt"/>
                </a:rPr>
                <a:t>Work area</a:t>
              </a:r>
              <a:endParaRPr lang="ru-RU" sz="2133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39" name="Sticker" hidden="1">
            <a:extLst>
              <a:ext uri="{FF2B5EF4-FFF2-40B4-BE49-F238E27FC236}">
                <a16:creationId xmlns:a16="http://schemas.microsoft.com/office/drawing/2014/main" id="{DA5F05AB-7EF2-4822-BC7C-7D6E3C8ECF3F}"/>
              </a:ext>
            </a:extLst>
          </p:cNvPr>
          <p:cNvSpPr txBox="1"/>
          <p:nvPr userDrawn="1"/>
        </p:nvSpPr>
        <p:spPr>
          <a:xfrm>
            <a:off x="14076352" y="55463"/>
            <a:ext cx="1440000" cy="16421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pPr lvl="0" algn="r"/>
            <a:r>
              <a:rPr lang="ru-RU" sz="1067" dirty="0"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40" name="Slide Number">
            <a:extLst>
              <a:ext uri="{FF2B5EF4-FFF2-40B4-BE49-F238E27FC236}">
                <a16:creationId xmlns:a16="http://schemas.microsoft.com/office/drawing/2014/main" id="{F1B45404-0575-4E74-8B46-1F406D8D5FB8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5082352" y="8769416"/>
            <a:ext cx="434001" cy="205184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1333" b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333" b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543724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72085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4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E66E6E-D719-426D-B6E7-C0EDFED1647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en-US" sz="2933" b="1" i="0" baseline="0" dirty="0">
              <a:solidFill>
                <a:schemeClr val="bg1"/>
              </a:solidFill>
              <a:latin typeface="Arial Black" panose="020B0A04020102020204" pitchFamily="34" charset="0"/>
              <a:ea typeface="+mj-ea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19648" y="0"/>
            <a:ext cx="10436352" cy="9144000"/>
          </a:xfrm>
          <a:prstGeom prst="rect">
            <a:avLst/>
          </a:prstGeom>
          <a:solidFill>
            <a:srgbClr val="F0F0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2400" dirty="0">
              <a:solidFill>
                <a:srgbClr val="F0F0F0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057475" y="3782269"/>
            <a:ext cx="4351709" cy="9028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057475" y="4752814"/>
            <a:ext cx="4351709" cy="32829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2133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1FBE24E8-31AF-4C3E-A5B5-E9DFC553F274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1057475" y="8441058"/>
            <a:ext cx="4351708" cy="16414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Footnotes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791DA78-DD6B-4CB7-9030-81E41768DCB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057475" y="8789935"/>
            <a:ext cx="4351711" cy="1641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Источник: …</a:t>
            </a:r>
          </a:p>
        </p:txBody>
      </p:sp>
      <p:sp>
        <p:nvSpPr>
          <p:cNvPr id="34" name="1. On-page tracker">
            <a:extLst>
              <a:ext uri="{FF2B5EF4-FFF2-40B4-BE49-F238E27FC236}">
                <a16:creationId xmlns:a16="http://schemas.microsoft.com/office/drawing/2014/main" id="{375775A5-B4AA-4316-9EF7-CCBE63C3971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057475" y="55463"/>
            <a:ext cx="4351709" cy="1641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1067" b="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37" name="object 2">
            <a:extLst>
              <a:ext uri="{FF2B5EF4-FFF2-40B4-BE49-F238E27FC236}">
                <a16:creationId xmlns:a16="http://schemas.microsoft.com/office/drawing/2014/main" id="{410BB51E-4854-4A94-A88E-61E8DEBAC7FD}"/>
              </a:ext>
            </a:extLst>
          </p:cNvPr>
          <p:cNvSpPr>
            <a:spLocks/>
          </p:cNvSpPr>
          <p:nvPr userDrawn="1"/>
        </p:nvSpPr>
        <p:spPr>
          <a:xfrm>
            <a:off x="0" y="3782269"/>
            <a:ext cx="880533" cy="902811"/>
          </a:xfrm>
          <a:custGeom>
            <a:avLst/>
            <a:gdLst/>
            <a:ahLst/>
            <a:cxnLst/>
            <a:rect l="l" t="t" r="r" b="b"/>
            <a:pathLst>
              <a:path w="660400" h="965200">
                <a:moveTo>
                  <a:pt x="660400" y="0"/>
                </a:moveTo>
                <a:lnTo>
                  <a:pt x="0" y="0"/>
                </a:lnTo>
                <a:lnTo>
                  <a:pt x="0" y="965200"/>
                </a:lnTo>
                <a:lnTo>
                  <a:pt x="660400" y="965200"/>
                </a:lnTo>
                <a:lnTo>
                  <a:pt x="660400" y="0"/>
                </a:lnTo>
                <a:close/>
              </a:path>
            </a:pathLst>
          </a:custGeom>
          <a:solidFill>
            <a:srgbClr val="CB2F0D"/>
          </a:solidFill>
        </p:spPr>
        <p:txBody>
          <a:bodyPr wrap="square" lIns="0" tIns="0" rIns="0" bIns="0" rtlCol="0">
            <a:noAutofit/>
          </a:bodyPr>
          <a:lstStyle/>
          <a:p>
            <a:endParaRPr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4" name="Рисунок 8">
            <a:extLst>
              <a:ext uri="{FF2B5EF4-FFF2-40B4-BE49-F238E27FC236}">
                <a16:creationId xmlns:a16="http://schemas.microsoft.com/office/drawing/2014/main" id="{18B11800-9F76-41B9-AFFC-BF332B0798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print">
            <a:alphaModFix amt="17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75" t="25442" r="32534" b="38466"/>
          <a:stretch/>
        </p:blipFill>
        <p:spPr>
          <a:xfrm>
            <a:off x="14743064" y="487160"/>
            <a:ext cx="798689" cy="803177"/>
          </a:xfrm>
          <a:prstGeom prst="rect">
            <a:avLst/>
          </a:prstGeom>
        </p:spPr>
      </p:pic>
      <p:grpSp>
        <p:nvGrpSpPr>
          <p:cNvPr id="57" name="Grid" hidden="1">
            <a:extLst>
              <a:ext uri="{FF2B5EF4-FFF2-40B4-BE49-F238E27FC236}">
                <a16:creationId xmlns:a16="http://schemas.microsoft.com/office/drawing/2014/main" id="{D6A514F7-1E52-46A8-B749-3869B51639E7}"/>
              </a:ext>
            </a:extLst>
          </p:cNvPr>
          <p:cNvGrpSpPr/>
          <p:nvPr userDrawn="1"/>
        </p:nvGrpSpPr>
        <p:grpSpPr>
          <a:xfrm>
            <a:off x="-663523" y="-618046"/>
            <a:ext cx="16179875" cy="8974436"/>
            <a:chOff x="-497642" y="-463534"/>
            <a:chExt cx="12134906" cy="6730827"/>
          </a:xfrm>
          <a:solidFill>
            <a:schemeClr val="accent1"/>
          </a:solidFill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14F652A7-9848-4C5F-B169-434B3D331DEB}"/>
                </a:ext>
              </a:extLst>
            </p:cNvPr>
            <p:cNvSpPr>
              <a:spLocks/>
            </p:cNvSpPr>
            <p:nvPr/>
          </p:nvSpPr>
          <p:spPr>
            <a:xfrm>
              <a:off x="793106" y="-463534"/>
              <a:ext cx="10844158" cy="318924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400"/>
                </a:spcBef>
                <a:spcAft>
                  <a:spcPts val="400"/>
                </a:spcAft>
              </a:pPr>
              <a:r>
                <a:rPr lang="en-US" sz="2133" b="1" dirty="0">
                  <a:solidFill>
                    <a:schemeClr val="bg1"/>
                  </a:solidFill>
                  <a:latin typeface="+mj-lt"/>
                </a:rPr>
                <a:t>Work area v.2</a:t>
              </a:r>
              <a:endParaRPr lang="ru-RU" sz="2133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04ABE526-6E78-4B89-9F1A-53D3B543F6E3}"/>
                </a:ext>
              </a:extLst>
            </p:cNvPr>
            <p:cNvSpPr>
              <a:spLocks/>
            </p:cNvSpPr>
            <p:nvPr/>
          </p:nvSpPr>
          <p:spPr>
            <a:xfrm>
              <a:off x="3721608" y="-454422"/>
              <a:ext cx="7915656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l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4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FF2F7A60-D54C-4DEB-A2D4-03C0B5DFD7FF}"/>
                </a:ext>
              </a:extLst>
            </p:cNvPr>
            <p:cNvSpPr>
              <a:spLocks/>
            </p:cNvSpPr>
            <p:nvPr/>
          </p:nvSpPr>
          <p:spPr>
            <a:xfrm>
              <a:off x="4672584" y="-454422"/>
              <a:ext cx="6964680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3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B168DAC6-2969-4635-9AF4-2D5D542D164B}"/>
                </a:ext>
              </a:extLst>
            </p:cNvPr>
            <p:cNvSpPr>
              <a:spLocks/>
            </p:cNvSpPr>
            <p:nvPr/>
          </p:nvSpPr>
          <p:spPr>
            <a:xfrm>
              <a:off x="6400800" y="-454422"/>
              <a:ext cx="5236464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2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A6FBB9A6-D306-4B2A-8688-CF6D78CF78A1}"/>
                </a:ext>
              </a:extLst>
            </p:cNvPr>
            <p:cNvSpPr>
              <a:spLocks/>
            </p:cNvSpPr>
            <p:nvPr/>
          </p:nvSpPr>
          <p:spPr>
            <a:xfrm>
              <a:off x="8138160" y="-454422"/>
              <a:ext cx="3499104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2/3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7F235187-C02A-450B-9A7A-D747F34206C1}"/>
                </a:ext>
              </a:extLst>
            </p:cNvPr>
            <p:cNvSpPr>
              <a:spLocks/>
            </p:cNvSpPr>
            <p:nvPr/>
          </p:nvSpPr>
          <p:spPr>
            <a:xfrm>
              <a:off x="9089264" y="-463534"/>
              <a:ext cx="2548000" cy="318924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3/4</a:t>
              </a:r>
            </a:p>
          </p:txBody>
        </p: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51E776B3-1F92-4C97-B83A-469F20495B24}"/>
                </a:ext>
              </a:extLst>
            </p:cNvPr>
            <p:cNvCxnSpPr>
              <a:cxnSpLocks/>
            </p:cNvCxnSpPr>
            <p:nvPr/>
          </p:nvCxnSpPr>
          <p:spPr>
            <a:xfrm>
              <a:off x="3721608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AB54D-E538-4416-AB41-5DF36D44D240}"/>
                </a:ext>
              </a:extLst>
            </p:cNvPr>
            <p:cNvCxnSpPr>
              <a:cxnSpLocks/>
            </p:cNvCxnSpPr>
            <p:nvPr/>
          </p:nvCxnSpPr>
          <p:spPr>
            <a:xfrm>
              <a:off x="4672584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91D7EDC5-25C4-41E9-8B8D-D0F00F1BA412}"/>
                </a:ext>
              </a:extLst>
            </p:cNvPr>
            <p:cNvCxnSpPr>
              <a:cxnSpLocks/>
            </p:cNvCxnSpPr>
            <p:nvPr/>
          </p:nvCxnSpPr>
          <p:spPr>
            <a:xfrm>
              <a:off x="6400800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8E7FE82A-CEFE-4FAC-A762-84B71EC893DB}"/>
                </a:ext>
              </a:extLst>
            </p:cNvPr>
            <p:cNvCxnSpPr>
              <a:cxnSpLocks/>
            </p:cNvCxnSpPr>
            <p:nvPr/>
          </p:nvCxnSpPr>
          <p:spPr>
            <a:xfrm>
              <a:off x="8138160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7886DF1-62CC-4291-9521-F49148879D36}"/>
                </a:ext>
              </a:extLst>
            </p:cNvPr>
            <p:cNvCxnSpPr>
              <a:cxnSpLocks/>
            </p:cNvCxnSpPr>
            <p:nvPr/>
          </p:nvCxnSpPr>
          <p:spPr>
            <a:xfrm>
              <a:off x="9089264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615086B2-A64D-4622-B159-578C4EDFB79C}"/>
                </a:ext>
              </a:extLst>
            </p:cNvPr>
            <p:cNvSpPr>
              <a:spLocks/>
            </p:cNvSpPr>
            <p:nvPr/>
          </p:nvSpPr>
          <p:spPr>
            <a:xfrm>
              <a:off x="-497642" y="1380931"/>
              <a:ext cx="364936" cy="4886362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r>
                <a:rPr lang="en-US" sz="2133" b="1" dirty="0">
                  <a:solidFill>
                    <a:schemeClr val="bg1"/>
                  </a:solidFill>
                  <a:latin typeface="+mj-lt"/>
                </a:rPr>
                <a:t>Work area</a:t>
              </a:r>
              <a:endParaRPr lang="ru-RU" sz="2133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70" name="Sticker" hidden="1">
            <a:extLst>
              <a:ext uri="{FF2B5EF4-FFF2-40B4-BE49-F238E27FC236}">
                <a16:creationId xmlns:a16="http://schemas.microsoft.com/office/drawing/2014/main" id="{6694B5D8-13BB-4740-8CC3-EDD377810C1E}"/>
              </a:ext>
            </a:extLst>
          </p:cNvPr>
          <p:cNvSpPr txBox="1"/>
          <p:nvPr userDrawn="1"/>
        </p:nvSpPr>
        <p:spPr>
          <a:xfrm>
            <a:off x="14076352" y="55463"/>
            <a:ext cx="1440000" cy="16421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pPr lvl="0" algn="r"/>
            <a:r>
              <a:rPr lang="ru-RU" sz="1067" dirty="0"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86B501F2-3134-45C7-96FA-15610D71146F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5082352" y="8769416"/>
            <a:ext cx="434001" cy="205184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1333" b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333" b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39560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802189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8" name="think-cell Slide" r:id="rId12" imgW="572" imgH="588" progId="TCLayout.ActiveDocument.1">
                  <p:embed/>
                </p:oleObj>
              </mc:Choice>
              <mc:Fallback>
                <p:oleObj name="think-cell Slide" r:id="rId12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F9680B-AE14-4F4F-815B-684AA73966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en-US" sz="2933" b="1" i="0" baseline="0" dirty="0">
              <a:solidFill>
                <a:schemeClr val="bg1"/>
              </a:solidFill>
              <a:latin typeface="Arial Black" panose="020B0A04020102020204" pitchFamily="34" charset="0"/>
              <a:ea typeface="+mj-ea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57474" y="439719"/>
            <a:ext cx="6655988" cy="902811"/>
          </a:xfrm>
        </p:spPr>
        <p:txBody>
          <a:bodyPr vert="horz" wrap="square" lIns="0" tIns="0" rIns="0" bIns="0" rtlCol="0" anchor="ctr" anchorCtr="0">
            <a:no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2933" b="1" kern="1200" spc="0" baseline="0" dirty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Arial Black" panose="020B0A040201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8123936" y="0"/>
            <a:ext cx="8132064" cy="9144000"/>
          </a:xfrm>
          <a:prstGeom prst="rect">
            <a:avLst/>
          </a:prstGeom>
          <a:solidFill>
            <a:srgbClr val="F0F0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2400" dirty="0">
              <a:solidFill>
                <a:srgbClr val="F0F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057474" y="1422514"/>
            <a:ext cx="6655988" cy="32829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2133" b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8759C0DC-CA42-4D58-8D3F-AD4C6CAE3A1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1057475" y="8441058"/>
            <a:ext cx="6655987" cy="16414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Footnotes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AC3100F-5CEB-4A91-9B1F-8F2834961E6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057475" y="8789935"/>
            <a:ext cx="6655987" cy="1641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Источник: …</a:t>
            </a:r>
          </a:p>
        </p:txBody>
      </p:sp>
      <p:sp>
        <p:nvSpPr>
          <p:cNvPr id="25" name="1. On-page tracker">
            <a:extLst>
              <a:ext uri="{FF2B5EF4-FFF2-40B4-BE49-F238E27FC236}">
                <a16:creationId xmlns:a16="http://schemas.microsoft.com/office/drawing/2014/main" id="{4709178D-D836-49CC-B690-CD0776B0C08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057475" y="55463"/>
            <a:ext cx="5124448" cy="1641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1067" b="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pic>
        <p:nvPicPr>
          <p:cNvPr id="29" name="Рисунок 8">
            <a:extLst>
              <a:ext uri="{FF2B5EF4-FFF2-40B4-BE49-F238E27FC236}">
                <a16:creationId xmlns:a16="http://schemas.microsoft.com/office/drawing/2014/main" id="{EBFFEB38-7CB3-466C-8377-F345A6FD7A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print">
            <a:alphaModFix amt="17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75" t="25442" r="32534" b="38466"/>
          <a:stretch/>
        </p:blipFill>
        <p:spPr>
          <a:xfrm>
            <a:off x="14743064" y="487160"/>
            <a:ext cx="798689" cy="803177"/>
          </a:xfrm>
          <a:prstGeom prst="rect">
            <a:avLst/>
          </a:prstGeom>
        </p:spPr>
      </p:pic>
      <p:sp>
        <p:nvSpPr>
          <p:cNvPr id="13" name="object 2">
            <a:extLst>
              <a:ext uri="{FF2B5EF4-FFF2-40B4-BE49-F238E27FC236}">
                <a16:creationId xmlns:a16="http://schemas.microsoft.com/office/drawing/2014/main" id="{2905B02D-6AD7-446D-80A5-022484470575}"/>
              </a:ext>
            </a:extLst>
          </p:cNvPr>
          <p:cNvSpPr>
            <a:spLocks/>
          </p:cNvSpPr>
          <p:nvPr userDrawn="1"/>
        </p:nvSpPr>
        <p:spPr>
          <a:xfrm>
            <a:off x="0" y="439719"/>
            <a:ext cx="880533" cy="902811"/>
          </a:xfrm>
          <a:custGeom>
            <a:avLst/>
            <a:gdLst/>
            <a:ahLst/>
            <a:cxnLst/>
            <a:rect l="l" t="t" r="r" b="b"/>
            <a:pathLst>
              <a:path w="660400" h="965200">
                <a:moveTo>
                  <a:pt x="660400" y="0"/>
                </a:moveTo>
                <a:lnTo>
                  <a:pt x="0" y="0"/>
                </a:lnTo>
                <a:lnTo>
                  <a:pt x="0" y="965200"/>
                </a:lnTo>
                <a:lnTo>
                  <a:pt x="660400" y="965200"/>
                </a:lnTo>
                <a:lnTo>
                  <a:pt x="66040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id" hidden="1">
            <a:extLst>
              <a:ext uri="{FF2B5EF4-FFF2-40B4-BE49-F238E27FC236}">
                <a16:creationId xmlns:a16="http://schemas.microsoft.com/office/drawing/2014/main" id="{64DA3846-7F02-49F4-96E5-86E7B97A2183}"/>
              </a:ext>
            </a:extLst>
          </p:cNvPr>
          <p:cNvGrpSpPr/>
          <p:nvPr userDrawn="1"/>
        </p:nvGrpSpPr>
        <p:grpSpPr>
          <a:xfrm>
            <a:off x="-663523" y="-618046"/>
            <a:ext cx="16179875" cy="8974436"/>
            <a:chOff x="-497642" y="-463534"/>
            <a:chExt cx="12134906" cy="6730827"/>
          </a:xfrm>
          <a:solidFill>
            <a:schemeClr val="accent1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A916085-4DA2-4C8D-B2F5-BCA4EBEDB514}"/>
                </a:ext>
              </a:extLst>
            </p:cNvPr>
            <p:cNvSpPr>
              <a:spLocks/>
            </p:cNvSpPr>
            <p:nvPr/>
          </p:nvSpPr>
          <p:spPr>
            <a:xfrm>
              <a:off x="793106" y="-463534"/>
              <a:ext cx="10844158" cy="318924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400"/>
                </a:spcBef>
                <a:spcAft>
                  <a:spcPts val="400"/>
                </a:spcAft>
              </a:pPr>
              <a:r>
                <a:rPr lang="en-US" sz="2133" b="1" dirty="0">
                  <a:solidFill>
                    <a:schemeClr val="bg1"/>
                  </a:solidFill>
                  <a:latin typeface="+mj-lt"/>
                </a:rPr>
                <a:t>Work area v.2</a:t>
              </a:r>
              <a:endParaRPr lang="ru-RU" sz="2133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24BAB60-81D9-4EFF-AA6B-CEFBB3833F9D}"/>
                </a:ext>
              </a:extLst>
            </p:cNvPr>
            <p:cNvSpPr>
              <a:spLocks/>
            </p:cNvSpPr>
            <p:nvPr/>
          </p:nvSpPr>
          <p:spPr>
            <a:xfrm>
              <a:off x="3721608" y="-454422"/>
              <a:ext cx="7915656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l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4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BA6CA47-D386-4472-881E-100F4B4439A6}"/>
                </a:ext>
              </a:extLst>
            </p:cNvPr>
            <p:cNvSpPr>
              <a:spLocks/>
            </p:cNvSpPr>
            <p:nvPr/>
          </p:nvSpPr>
          <p:spPr>
            <a:xfrm>
              <a:off x="4672584" y="-454422"/>
              <a:ext cx="6964680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3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8657B89-FD96-4AA3-9439-D502D1CDFE01}"/>
                </a:ext>
              </a:extLst>
            </p:cNvPr>
            <p:cNvSpPr>
              <a:spLocks/>
            </p:cNvSpPr>
            <p:nvPr/>
          </p:nvSpPr>
          <p:spPr>
            <a:xfrm>
              <a:off x="6400800" y="-454422"/>
              <a:ext cx="5236464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2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7E50362-B4E6-4246-88C5-84102080D110}"/>
                </a:ext>
              </a:extLst>
            </p:cNvPr>
            <p:cNvSpPr>
              <a:spLocks/>
            </p:cNvSpPr>
            <p:nvPr/>
          </p:nvSpPr>
          <p:spPr>
            <a:xfrm>
              <a:off x="8138160" y="-454422"/>
              <a:ext cx="3499104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2/3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EAD7CF1-4A60-42D0-B116-7FB87784BD7E}"/>
                </a:ext>
              </a:extLst>
            </p:cNvPr>
            <p:cNvSpPr>
              <a:spLocks/>
            </p:cNvSpPr>
            <p:nvPr/>
          </p:nvSpPr>
          <p:spPr>
            <a:xfrm>
              <a:off x="9089264" y="-463534"/>
              <a:ext cx="2548000" cy="318924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3/4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C8005AD-E70E-4733-B263-FB81587AFA13}"/>
                </a:ext>
              </a:extLst>
            </p:cNvPr>
            <p:cNvCxnSpPr>
              <a:cxnSpLocks/>
            </p:cNvCxnSpPr>
            <p:nvPr/>
          </p:nvCxnSpPr>
          <p:spPr>
            <a:xfrm>
              <a:off x="3721608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56852FA0-D6CA-4DE8-B6C3-FF3E0F290737}"/>
                </a:ext>
              </a:extLst>
            </p:cNvPr>
            <p:cNvCxnSpPr>
              <a:cxnSpLocks/>
            </p:cNvCxnSpPr>
            <p:nvPr/>
          </p:nvCxnSpPr>
          <p:spPr>
            <a:xfrm>
              <a:off x="4672584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0ED08BB3-4075-4EF0-B130-54A55EA45770}"/>
                </a:ext>
              </a:extLst>
            </p:cNvPr>
            <p:cNvCxnSpPr>
              <a:cxnSpLocks/>
            </p:cNvCxnSpPr>
            <p:nvPr/>
          </p:nvCxnSpPr>
          <p:spPr>
            <a:xfrm>
              <a:off x="6400800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A5068AEB-C21F-4503-8BA4-B615432BD511}"/>
                </a:ext>
              </a:extLst>
            </p:cNvPr>
            <p:cNvCxnSpPr>
              <a:cxnSpLocks/>
            </p:cNvCxnSpPr>
            <p:nvPr/>
          </p:nvCxnSpPr>
          <p:spPr>
            <a:xfrm>
              <a:off x="8138160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D38E967-DA3B-47E5-BAAE-8D440196476D}"/>
                </a:ext>
              </a:extLst>
            </p:cNvPr>
            <p:cNvCxnSpPr>
              <a:cxnSpLocks/>
            </p:cNvCxnSpPr>
            <p:nvPr/>
          </p:nvCxnSpPr>
          <p:spPr>
            <a:xfrm>
              <a:off x="9089264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6A18DC91-65A5-4BB3-9B89-9CA2ED2D548B}"/>
                </a:ext>
              </a:extLst>
            </p:cNvPr>
            <p:cNvSpPr>
              <a:spLocks/>
            </p:cNvSpPr>
            <p:nvPr/>
          </p:nvSpPr>
          <p:spPr>
            <a:xfrm>
              <a:off x="-497642" y="1380931"/>
              <a:ext cx="364936" cy="4886362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r>
                <a:rPr lang="en-US" sz="2133" b="1" dirty="0">
                  <a:solidFill>
                    <a:schemeClr val="bg1"/>
                  </a:solidFill>
                  <a:latin typeface="+mj-lt"/>
                </a:rPr>
                <a:t>Work area</a:t>
              </a:r>
              <a:endParaRPr lang="ru-RU" sz="2133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42" name="Sticker" hidden="1">
            <a:extLst>
              <a:ext uri="{FF2B5EF4-FFF2-40B4-BE49-F238E27FC236}">
                <a16:creationId xmlns:a16="http://schemas.microsoft.com/office/drawing/2014/main" id="{53635363-0BB6-4D94-A814-0A0285A395D1}"/>
              </a:ext>
            </a:extLst>
          </p:cNvPr>
          <p:cNvSpPr txBox="1"/>
          <p:nvPr userDrawn="1"/>
        </p:nvSpPr>
        <p:spPr>
          <a:xfrm>
            <a:off x="14076352" y="55463"/>
            <a:ext cx="1440000" cy="16421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pPr lvl="0" algn="r"/>
            <a:r>
              <a:rPr lang="ru-RU" sz="1067" dirty="0"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AE95267A-2AAA-4756-81AA-BAC985CD861D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5082352" y="8769416"/>
            <a:ext cx="434001" cy="205184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1333" b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333" b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876380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707347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2" name="think-cell Slide" r:id="rId12" imgW="572" imgH="588" progId="TCLayout.ActiveDocument.1">
                  <p:embed/>
                </p:oleObj>
              </mc:Choice>
              <mc:Fallback>
                <p:oleObj name="think-cell Slide" r:id="rId12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F9680B-AE14-4F4F-815B-684AA73966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en-US" sz="2933" b="1" i="0" baseline="0" dirty="0">
              <a:solidFill>
                <a:schemeClr val="bg1"/>
              </a:solidFill>
              <a:latin typeface="Arial Black" panose="020B0A04020102020204" pitchFamily="34" charset="0"/>
              <a:ea typeface="+mj-ea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57475" y="439719"/>
            <a:ext cx="8972477" cy="902811"/>
          </a:xfrm>
        </p:spPr>
        <p:txBody>
          <a:bodyPr vert="horz" wrap="square" lIns="0" tIns="0" rIns="0" bIns="0" rtlCol="0" anchor="ctr" anchorCtr="0">
            <a:no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2933" b="1" kern="1200" spc="0" baseline="0" dirty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Arial Black" panose="020B0A040201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10440416" y="0"/>
            <a:ext cx="5815584" cy="9144000"/>
          </a:xfrm>
          <a:prstGeom prst="rect">
            <a:avLst/>
          </a:prstGeom>
          <a:solidFill>
            <a:srgbClr val="F0F0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2400" dirty="0">
              <a:solidFill>
                <a:srgbClr val="F0F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057475" y="1422514"/>
            <a:ext cx="8972477" cy="32829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2133" b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8759C0DC-CA42-4D58-8D3F-AD4C6CAE3A1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1057475" y="8441058"/>
            <a:ext cx="8972477" cy="16414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Footnotes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AC3100F-5CEB-4A91-9B1F-8F2834961E6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057475" y="8789935"/>
            <a:ext cx="8972477" cy="1641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Источник: …</a:t>
            </a:r>
          </a:p>
        </p:txBody>
      </p:sp>
      <p:sp>
        <p:nvSpPr>
          <p:cNvPr id="25" name="1. On-page tracker">
            <a:extLst>
              <a:ext uri="{FF2B5EF4-FFF2-40B4-BE49-F238E27FC236}">
                <a16:creationId xmlns:a16="http://schemas.microsoft.com/office/drawing/2014/main" id="{4709178D-D836-49CC-B690-CD0776B0C08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057476" y="55463"/>
            <a:ext cx="5124441" cy="1641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1067" b="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pic>
        <p:nvPicPr>
          <p:cNvPr id="29" name="Рисунок 8">
            <a:extLst>
              <a:ext uri="{FF2B5EF4-FFF2-40B4-BE49-F238E27FC236}">
                <a16:creationId xmlns:a16="http://schemas.microsoft.com/office/drawing/2014/main" id="{EBFFEB38-7CB3-466C-8377-F345A6FD7A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print">
            <a:alphaModFix amt="17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75" t="25442" r="32534" b="38466"/>
          <a:stretch/>
        </p:blipFill>
        <p:spPr>
          <a:xfrm>
            <a:off x="14743064" y="487160"/>
            <a:ext cx="798689" cy="803177"/>
          </a:xfrm>
          <a:prstGeom prst="rect">
            <a:avLst/>
          </a:prstGeom>
        </p:spPr>
      </p:pic>
      <p:sp>
        <p:nvSpPr>
          <p:cNvPr id="13" name="object 2">
            <a:extLst>
              <a:ext uri="{FF2B5EF4-FFF2-40B4-BE49-F238E27FC236}">
                <a16:creationId xmlns:a16="http://schemas.microsoft.com/office/drawing/2014/main" id="{2905B02D-6AD7-446D-80A5-022484470575}"/>
              </a:ext>
            </a:extLst>
          </p:cNvPr>
          <p:cNvSpPr>
            <a:spLocks/>
          </p:cNvSpPr>
          <p:nvPr userDrawn="1"/>
        </p:nvSpPr>
        <p:spPr>
          <a:xfrm>
            <a:off x="0" y="439719"/>
            <a:ext cx="880533" cy="902811"/>
          </a:xfrm>
          <a:custGeom>
            <a:avLst/>
            <a:gdLst/>
            <a:ahLst/>
            <a:cxnLst/>
            <a:rect l="l" t="t" r="r" b="b"/>
            <a:pathLst>
              <a:path w="660400" h="965200">
                <a:moveTo>
                  <a:pt x="660400" y="0"/>
                </a:moveTo>
                <a:lnTo>
                  <a:pt x="0" y="0"/>
                </a:lnTo>
                <a:lnTo>
                  <a:pt x="0" y="965200"/>
                </a:lnTo>
                <a:lnTo>
                  <a:pt x="660400" y="965200"/>
                </a:lnTo>
                <a:lnTo>
                  <a:pt x="66040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ticker" hidden="1">
            <a:extLst>
              <a:ext uri="{FF2B5EF4-FFF2-40B4-BE49-F238E27FC236}">
                <a16:creationId xmlns:a16="http://schemas.microsoft.com/office/drawing/2014/main" id="{65C8CD9B-1F75-4E47-92F7-0B49B6212191}"/>
              </a:ext>
            </a:extLst>
          </p:cNvPr>
          <p:cNvSpPr txBox="1"/>
          <p:nvPr userDrawn="1"/>
        </p:nvSpPr>
        <p:spPr>
          <a:xfrm>
            <a:off x="14076352" y="55463"/>
            <a:ext cx="1440000" cy="16421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pPr lvl="0" algn="r"/>
            <a:r>
              <a:rPr lang="ru-RU" sz="1067" dirty="0"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D8587BE8-AF64-479C-9BE1-14284F40CCC9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5082352" y="8769416"/>
            <a:ext cx="434001" cy="205184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1333" b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333" b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59044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954903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EDED69-5E8B-4D07-B5EC-54F0AC1C332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en-US" sz="2933" b="1" i="0" baseline="0" dirty="0">
              <a:solidFill>
                <a:schemeClr val="bg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11708555" y="0"/>
            <a:ext cx="4547445" cy="9144000"/>
          </a:xfrm>
          <a:prstGeom prst="rect">
            <a:avLst/>
          </a:prstGeom>
          <a:solidFill>
            <a:srgbClr val="F0F0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2400" noProof="0" dirty="0">
              <a:solidFill>
                <a:srgbClr val="F0F0F0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1057475" y="439719"/>
            <a:ext cx="10240445" cy="902811"/>
          </a:xfrm>
        </p:spPr>
        <p:txBody>
          <a:bodyPr vert="horz" wrap="square" lIns="0" tIns="0" rIns="0" bIns="0" rtlCol="0" anchor="ctr" anchorCtr="0">
            <a:no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2933" b="1" kern="1200" spc="0" baseline="0" dirty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057475" y="1422514"/>
            <a:ext cx="10240445" cy="32829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2133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44C30949-359D-483D-8AB0-470F0738EC4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1057475" y="8441058"/>
            <a:ext cx="10240445" cy="16414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Footnotes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C638687-9D2C-4819-8EA7-89C77797F3C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057475" y="8789935"/>
            <a:ext cx="10240445" cy="1641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Источник: …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AC17CCDC-FC12-4DED-95F2-F5BEFA3857E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5082352" y="8769416"/>
            <a:ext cx="434001" cy="205184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1333" b="0" smtClean="0">
                <a:solidFill>
                  <a:schemeClr val="tx2"/>
                </a:solidFill>
                <a:latin typeface="Myriad Pro" panose="020B0503030403020204" pitchFamily="34" charset="0"/>
                <a:ea typeface="+mn-ea"/>
                <a:cs typeface="+mn-cs"/>
                <a:sym typeface="+mn-lt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333" b="0" dirty="0">
              <a:solidFill>
                <a:schemeClr val="tx2"/>
              </a:solidFill>
              <a:latin typeface="Myriad Pro" panose="020B0503030403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DFD07A5A-E503-48D4-A4DB-8D2398164B2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10"/>
            </p:custDataLst>
          </p:nvPr>
        </p:nvSpPr>
        <p:spPr>
          <a:xfrm>
            <a:off x="1057475" y="55463"/>
            <a:ext cx="5124437" cy="1641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1067" b="0" dirty="0">
                <a:solidFill>
                  <a:schemeClr val="accent4"/>
                </a:solidFill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pic>
        <p:nvPicPr>
          <p:cNvPr id="26" name="Рисунок 8">
            <a:extLst>
              <a:ext uri="{FF2B5EF4-FFF2-40B4-BE49-F238E27FC236}">
                <a16:creationId xmlns:a16="http://schemas.microsoft.com/office/drawing/2014/main" id="{C29F56B3-B14A-45CD-A6A4-8B0F691535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print">
            <a:alphaModFix amt="17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75" t="25442" r="32534" b="38466"/>
          <a:stretch/>
        </p:blipFill>
        <p:spPr>
          <a:xfrm>
            <a:off x="14743064" y="487160"/>
            <a:ext cx="798689" cy="803177"/>
          </a:xfrm>
          <a:prstGeom prst="rect">
            <a:avLst/>
          </a:prstGeom>
        </p:spPr>
      </p:pic>
      <p:sp>
        <p:nvSpPr>
          <p:cNvPr id="13" name="object 2">
            <a:extLst>
              <a:ext uri="{FF2B5EF4-FFF2-40B4-BE49-F238E27FC236}">
                <a16:creationId xmlns:a16="http://schemas.microsoft.com/office/drawing/2014/main" id="{12753395-3805-4161-AF75-0505A94BEE99}"/>
              </a:ext>
            </a:extLst>
          </p:cNvPr>
          <p:cNvSpPr>
            <a:spLocks/>
          </p:cNvSpPr>
          <p:nvPr userDrawn="1"/>
        </p:nvSpPr>
        <p:spPr>
          <a:xfrm>
            <a:off x="0" y="439719"/>
            <a:ext cx="880533" cy="902811"/>
          </a:xfrm>
          <a:custGeom>
            <a:avLst/>
            <a:gdLst/>
            <a:ahLst/>
            <a:cxnLst/>
            <a:rect l="l" t="t" r="r" b="b"/>
            <a:pathLst>
              <a:path w="660400" h="965200">
                <a:moveTo>
                  <a:pt x="660400" y="0"/>
                </a:moveTo>
                <a:lnTo>
                  <a:pt x="0" y="0"/>
                </a:lnTo>
                <a:lnTo>
                  <a:pt x="0" y="965200"/>
                </a:lnTo>
                <a:lnTo>
                  <a:pt x="660400" y="965200"/>
                </a:lnTo>
                <a:lnTo>
                  <a:pt x="66040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2400" dirty="0"/>
          </a:p>
        </p:txBody>
      </p:sp>
      <p:grpSp>
        <p:nvGrpSpPr>
          <p:cNvPr id="39" name="Grid" hidden="1">
            <a:extLst>
              <a:ext uri="{FF2B5EF4-FFF2-40B4-BE49-F238E27FC236}">
                <a16:creationId xmlns:a16="http://schemas.microsoft.com/office/drawing/2014/main" id="{D1E38903-4A2F-4FA5-91E5-20FAA248F4FF}"/>
              </a:ext>
            </a:extLst>
          </p:cNvPr>
          <p:cNvGrpSpPr/>
          <p:nvPr userDrawn="1"/>
        </p:nvGrpSpPr>
        <p:grpSpPr>
          <a:xfrm>
            <a:off x="-663523" y="-618046"/>
            <a:ext cx="16179875" cy="8974436"/>
            <a:chOff x="-497642" y="-463534"/>
            <a:chExt cx="12134906" cy="6730827"/>
          </a:xfrm>
          <a:solidFill>
            <a:schemeClr val="accent1"/>
          </a:solidFill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5E2844B-E67C-49DC-A429-416D15C18569}"/>
                </a:ext>
              </a:extLst>
            </p:cNvPr>
            <p:cNvSpPr>
              <a:spLocks/>
            </p:cNvSpPr>
            <p:nvPr/>
          </p:nvSpPr>
          <p:spPr>
            <a:xfrm>
              <a:off x="793106" y="-463534"/>
              <a:ext cx="10844158" cy="318924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400"/>
                </a:spcBef>
                <a:spcAft>
                  <a:spcPts val="400"/>
                </a:spcAft>
              </a:pPr>
              <a:r>
                <a:rPr lang="en-US" sz="2133" b="1" dirty="0">
                  <a:solidFill>
                    <a:schemeClr val="bg1"/>
                  </a:solidFill>
                  <a:latin typeface="+mj-lt"/>
                </a:rPr>
                <a:t>Work area v.2</a:t>
              </a:r>
              <a:endParaRPr lang="ru-RU" sz="2133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57AD110F-6402-4A41-91F5-0A14553C2D65}"/>
                </a:ext>
              </a:extLst>
            </p:cNvPr>
            <p:cNvSpPr>
              <a:spLocks/>
            </p:cNvSpPr>
            <p:nvPr/>
          </p:nvSpPr>
          <p:spPr>
            <a:xfrm>
              <a:off x="3721608" y="-454422"/>
              <a:ext cx="7915656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l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4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7F4F96F-1203-433F-873F-D1F3133E45E7}"/>
                </a:ext>
              </a:extLst>
            </p:cNvPr>
            <p:cNvSpPr>
              <a:spLocks/>
            </p:cNvSpPr>
            <p:nvPr/>
          </p:nvSpPr>
          <p:spPr>
            <a:xfrm>
              <a:off x="4672584" y="-454422"/>
              <a:ext cx="6964680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3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E89438A-07A2-4D54-849E-3490D56E3DDF}"/>
                </a:ext>
              </a:extLst>
            </p:cNvPr>
            <p:cNvSpPr>
              <a:spLocks/>
            </p:cNvSpPr>
            <p:nvPr/>
          </p:nvSpPr>
          <p:spPr>
            <a:xfrm>
              <a:off x="6400800" y="-454422"/>
              <a:ext cx="5236464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2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5A9D035-55A5-4073-86DE-9A8C2D8E77E1}"/>
                </a:ext>
              </a:extLst>
            </p:cNvPr>
            <p:cNvSpPr>
              <a:spLocks/>
            </p:cNvSpPr>
            <p:nvPr/>
          </p:nvSpPr>
          <p:spPr>
            <a:xfrm>
              <a:off x="8138160" y="-454422"/>
              <a:ext cx="3499104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2/3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D3886E50-C2FC-4851-A10C-9BD5021984B2}"/>
                </a:ext>
              </a:extLst>
            </p:cNvPr>
            <p:cNvSpPr>
              <a:spLocks/>
            </p:cNvSpPr>
            <p:nvPr/>
          </p:nvSpPr>
          <p:spPr>
            <a:xfrm>
              <a:off x="9089264" y="-463534"/>
              <a:ext cx="2548000" cy="318924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3/4</a:t>
              </a:r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92B055E4-5FC1-47FA-8915-285440D8CA5A}"/>
                </a:ext>
              </a:extLst>
            </p:cNvPr>
            <p:cNvCxnSpPr>
              <a:cxnSpLocks/>
            </p:cNvCxnSpPr>
            <p:nvPr/>
          </p:nvCxnSpPr>
          <p:spPr>
            <a:xfrm>
              <a:off x="3721608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E8ACF418-4EFC-4916-BCBE-E6B5E32E0D45}"/>
                </a:ext>
              </a:extLst>
            </p:cNvPr>
            <p:cNvCxnSpPr>
              <a:cxnSpLocks/>
            </p:cNvCxnSpPr>
            <p:nvPr/>
          </p:nvCxnSpPr>
          <p:spPr>
            <a:xfrm>
              <a:off x="4672584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7BD0FFDF-6765-4A33-B8BF-E01BDE1AF3C6}"/>
                </a:ext>
              </a:extLst>
            </p:cNvPr>
            <p:cNvCxnSpPr>
              <a:cxnSpLocks/>
            </p:cNvCxnSpPr>
            <p:nvPr/>
          </p:nvCxnSpPr>
          <p:spPr>
            <a:xfrm>
              <a:off x="6400800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2958BF5D-A60E-4C4B-86FF-3DA4B307E50B}"/>
                </a:ext>
              </a:extLst>
            </p:cNvPr>
            <p:cNvCxnSpPr>
              <a:cxnSpLocks/>
            </p:cNvCxnSpPr>
            <p:nvPr/>
          </p:nvCxnSpPr>
          <p:spPr>
            <a:xfrm>
              <a:off x="8138160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F31E9A33-6BE1-4033-8A15-D8A4FD822B3B}"/>
                </a:ext>
              </a:extLst>
            </p:cNvPr>
            <p:cNvCxnSpPr>
              <a:cxnSpLocks/>
            </p:cNvCxnSpPr>
            <p:nvPr/>
          </p:nvCxnSpPr>
          <p:spPr>
            <a:xfrm>
              <a:off x="9089264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94C45EFB-DFB0-4691-B6DF-CFB6ADFDF50E}"/>
                </a:ext>
              </a:extLst>
            </p:cNvPr>
            <p:cNvSpPr>
              <a:spLocks/>
            </p:cNvSpPr>
            <p:nvPr/>
          </p:nvSpPr>
          <p:spPr>
            <a:xfrm>
              <a:off x="-497642" y="1380931"/>
              <a:ext cx="364936" cy="4886362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r>
                <a:rPr lang="en-US" sz="2133" b="1" dirty="0">
                  <a:solidFill>
                    <a:schemeClr val="bg1"/>
                  </a:solidFill>
                  <a:latin typeface="+mj-lt"/>
                </a:rPr>
                <a:t>Work area</a:t>
              </a:r>
              <a:endParaRPr lang="ru-RU" sz="2133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52" name="Sticker" hidden="1">
            <a:extLst>
              <a:ext uri="{FF2B5EF4-FFF2-40B4-BE49-F238E27FC236}">
                <a16:creationId xmlns:a16="http://schemas.microsoft.com/office/drawing/2014/main" id="{EF42784F-CEF8-4158-976C-76C2429134E8}"/>
              </a:ext>
            </a:extLst>
          </p:cNvPr>
          <p:cNvSpPr txBox="1"/>
          <p:nvPr userDrawn="1"/>
        </p:nvSpPr>
        <p:spPr>
          <a:xfrm>
            <a:off x="14076352" y="55463"/>
            <a:ext cx="1440000" cy="16421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pPr lvl="0" algn="r"/>
            <a:r>
              <a:rPr lang="ru-RU" sz="1067" dirty="0">
                <a:solidFill>
                  <a:schemeClr val="tx1"/>
                </a:solidFill>
              </a:rPr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42547924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83812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4. Footnote" hidden="1">
            <a:extLst>
              <a:ext uri="{FF2B5EF4-FFF2-40B4-BE49-F238E27FC236}">
                <a16:creationId xmlns:a16="http://schemas.microsoft.com/office/drawing/2014/main" id="{7C25CC01-4EAE-4262-8730-8E95A2982CF9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057475" y="8440993"/>
            <a:ext cx="14458877" cy="1642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Footnotes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3C3F96D2-A16F-49CC-A65A-8036D14C4ABA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1057475" y="8789935"/>
            <a:ext cx="13865028" cy="1641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Источник: …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C16F1711-8B52-45A1-97A5-78ECF82543A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5082352" y="8769416"/>
            <a:ext cx="434001" cy="205184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1333" b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333" b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21862017-7F69-4C94-B40B-A44CFB1C7F6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057476" y="55463"/>
            <a:ext cx="5124441" cy="1641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1067" b="0" dirty="0">
                <a:solidFill>
                  <a:schemeClr val="accent4"/>
                </a:solidFill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pic>
        <p:nvPicPr>
          <p:cNvPr id="15" name="Рисунок 8">
            <a:extLst>
              <a:ext uri="{FF2B5EF4-FFF2-40B4-BE49-F238E27FC236}">
                <a16:creationId xmlns:a16="http://schemas.microsoft.com/office/drawing/2014/main" id="{EE23864E-2AFF-4D8A-8ACC-079FCF7B2B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alphaModFix amt="17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75" t="25442" r="32534" b="38466"/>
          <a:stretch/>
        </p:blipFill>
        <p:spPr>
          <a:xfrm>
            <a:off x="14743064" y="487160"/>
            <a:ext cx="798689" cy="803177"/>
          </a:xfrm>
          <a:prstGeom prst="rect">
            <a:avLst/>
          </a:prstGeom>
        </p:spPr>
      </p:pic>
      <p:grpSp>
        <p:nvGrpSpPr>
          <p:cNvPr id="12" name="Grid" hidden="1">
            <a:extLst>
              <a:ext uri="{FF2B5EF4-FFF2-40B4-BE49-F238E27FC236}">
                <a16:creationId xmlns:a16="http://schemas.microsoft.com/office/drawing/2014/main" id="{DB74CC50-D1E2-4CFC-B441-403D46DBCA2C}"/>
              </a:ext>
            </a:extLst>
          </p:cNvPr>
          <p:cNvGrpSpPr/>
          <p:nvPr userDrawn="1"/>
        </p:nvGrpSpPr>
        <p:grpSpPr>
          <a:xfrm>
            <a:off x="-663523" y="-618046"/>
            <a:ext cx="16179875" cy="8974436"/>
            <a:chOff x="-497642" y="-463534"/>
            <a:chExt cx="12134906" cy="6730827"/>
          </a:xfrm>
          <a:solidFill>
            <a:schemeClr val="accent1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1AF90B2-D1FE-4034-96A9-C31B325A3B91}"/>
                </a:ext>
              </a:extLst>
            </p:cNvPr>
            <p:cNvSpPr>
              <a:spLocks/>
            </p:cNvSpPr>
            <p:nvPr/>
          </p:nvSpPr>
          <p:spPr>
            <a:xfrm>
              <a:off x="793106" y="-463534"/>
              <a:ext cx="10844158" cy="318924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400"/>
                </a:spcBef>
                <a:spcAft>
                  <a:spcPts val="400"/>
                </a:spcAft>
              </a:pPr>
              <a:r>
                <a:rPr lang="en-US" sz="2133" b="1" dirty="0">
                  <a:solidFill>
                    <a:schemeClr val="bg1"/>
                  </a:solidFill>
                  <a:latin typeface="+mj-lt"/>
                </a:rPr>
                <a:t>Work area v.2</a:t>
              </a:r>
              <a:endParaRPr lang="ru-RU" sz="2133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7FB0D46-4C24-46FD-A813-7D6C0FA02BC5}"/>
                </a:ext>
              </a:extLst>
            </p:cNvPr>
            <p:cNvSpPr>
              <a:spLocks/>
            </p:cNvSpPr>
            <p:nvPr/>
          </p:nvSpPr>
          <p:spPr>
            <a:xfrm>
              <a:off x="3721608" y="-454422"/>
              <a:ext cx="7915656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l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4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A356403-6C7E-4D0F-BAE0-3079703EDBD0}"/>
                </a:ext>
              </a:extLst>
            </p:cNvPr>
            <p:cNvSpPr>
              <a:spLocks/>
            </p:cNvSpPr>
            <p:nvPr/>
          </p:nvSpPr>
          <p:spPr>
            <a:xfrm>
              <a:off x="4672584" y="-454422"/>
              <a:ext cx="6964680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3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7D8A633-A5D0-46A1-BA1A-F44044CCFFA3}"/>
                </a:ext>
              </a:extLst>
            </p:cNvPr>
            <p:cNvSpPr>
              <a:spLocks/>
            </p:cNvSpPr>
            <p:nvPr/>
          </p:nvSpPr>
          <p:spPr>
            <a:xfrm>
              <a:off x="6400800" y="-454422"/>
              <a:ext cx="5236464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2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11A5C34-78AF-4AFF-8AFC-C503AC83FE60}"/>
                </a:ext>
              </a:extLst>
            </p:cNvPr>
            <p:cNvSpPr>
              <a:spLocks/>
            </p:cNvSpPr>
            <p:nvPr/>
          </p:nvSpPr>
          <p:spPr>
            <a:xfrm>
              <a:off x="8138160" y="-454422"/>
              <a:ext cx="3499104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2/3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9839190-8ED9-4B4F-886F-ACE7C1B542DA}"/>
                </a:ext>
              </a:extLst>
            </p:cNvPr>
            <p:cNvSpPr>
              <a:spLocks/>
            </p:cNvSpPr>
            <p:nvPr/>
          </p:nvSpPr>
          <p:spPr>
            <a:xfrm>
              <a:off x="9089264" y="-463534"/>
              <a:ext cx="2548000" cy="318924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3/4</a:t>
              </a: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920D6C2-E512-4D6C-9F8B-CFAAA4F4D3BF}"/>
                </a:ext>
              </a:extLst>
            </p:cNvPr>
            <p:cNvCxnSpPr>
              <a:cxnSpLocks/>
            </p:cNvCxnSpPr>
            <p:nvPr/>
          </p:nvCxnSpPr>
          <p:spPr>
            <a:xfrm>
              <a:off x="3721608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A0AA4A8-C2C7-4EBB-8A2A-EE04EC5E5A9C}"/>
                </a:ext>
              </a:extLst>
            </p:cNvPr>
            <p:cNvCxnSpPr>
              <a:cxnSpLocks/>
            </p:cNvCxnSpPr>
            <p:nvPr/>
          </p:nvCxnSpPr>
          <p:spPr>
            <a:xfrm>
              <a:off x="4672584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7B31B0B9-8897-4B79-A5A1-1C7A83C40B72}"/>
                </a:ext>
              </a:extLst>
            </p:cNvPr>
            <p:cNvCxnSpPr>
              <a:cxnSpLocks/>
            </p:cNvCxnSpPr>
            <p:nvPr/>
          </p:nvCxnSpPr>
          <p:spPr>
            <a:xfrm>
              <a:off x="6400800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BDFE7D9-EC29-4A99-8E03-7E85018A3881}"/>
                </a:ext>
              </a:extLst>
            </p:cNvPr>
            <p:cNvCxnSpPr>
              <a:cxnSpLocks/>
            </p:cNvCxnSpPr>
            <p:nvPr/>
          </p:nvCxnSpPr>
          <p:spPr>
            <a:xfrm>
              <a:off x="8138160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CE32017-A6D6-4DBD-B25F-FC6A17E7960C}"/>
                </a:ext>
              </a:extLst>
            </p:cNvPr>
            <p:cNvCxnSpPr>
              <a:cxnSpLocks/>
            </p:cNvCxnSpPr>
            <p:nvPr/>
          </p:nvCxnSpPr>
          <p:spPr>
            <a:xfrm>
              <a:off x="9089264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3FDE801-9434-4A50-9516-B0145D968B0C}"/>
                </a:ext>
              </a:extLst>
            </p:cNvPr>
            <p:cNvSpPr>
              <a:spLocks/>
            </p:cNvSpPr>
            <p:nvPr/>
          </p:nvSpPr>
          <p:spPr>
            <a:xfrm>
              <a:off x="-497642" y="1380931"/>
              <a:ext cx="364936" cy="4886362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r>
                <a:rPr lang="en-US" sz="2133" b="1" dirty="0">
                  <a:solidFill>
                    <a:schemeClr val="bg1"/>
                  </a:solidFill>
                  <a:latin typeface="+mj-lt"/>
                </a:rPr>
                <a:t>Work area</a:t>
              </a:r>
              <a:endParaRPr lang="ru-RU" sz="2133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7" name="Sticker" hidden="1">
            <a:extLst>
              <a:ext uri="{FF2B5EF4-FFF2-40B4-BE49-F238E27FC236}">
                <a16:creationId xmlns:a16="http://schemas.microsoft.com/office/drawing/2014/main" id="{F8BD873D-EA37-41DE-B7A1-F2DC62F05905}"/>
              </a:ext>
            </a:extLst>
          </p:cNvPr>
          <p:cNvSpPr txBox="1"/>
          <p:nvPr userDrawn="1"/>
        </p:nvSpPr>
        <p:spPr>
          <a:xfrm>
            <a:off x="14076352" y="55463"/>
            <a:ext cx="1440000" cy="16421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pPr lvl="0" algn="r"/>
            <a:r>
              <a:rPr lang="ru-RU" sz="1067" dirty="0">
                <a:solidFill>
                  <a:schemeClr val="tx1"/>
                </a:solidFill>
              </a:rPr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26986927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139765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857F457-6247-44D4-BE3C-66B191EB78D5}"/>
              </a:ext>
            </a:extLst>
          </p:cNvPr>
          <p:cNvSpPr txBox="1"/>
          <p:nvPr userDrawn="1"/>
        </p:nvSpPr>
        <p:spPr>
          <a:xfrm>
            <a:off x="5215467" y="3156229"/>
            <a:ext cx="5825067" cy="28315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18400" dirty="0">
                <a:latin typeface="Arial Black" panose="020B0A04020102020204" pitchFamily="34" charset="0"/>
                <a:cs typeface="+mn-cs"/>
              </a:rPr>
              <a:t>END</a:t>
            </a:r>
          </a:p>
        </p:txBody>
      </p:sp>
      <p:sp>
        <p:nvSpPr>
          <p:cNvPr id="5" name="4. Footnote" hidden="1">
            <a:extLst>
              <a:ext uri="{FF2B5EF4-FFF2-40B4-BE49-F238E27FC236}">
                <a16:creationId xmlns:a16="http://schemas.microsoft.com/office/drawing/2014/main" id="{59A60F0F-7511-49F0-BBCF-2DE6FB5D50AC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739648" y="8441058"/>
            <a:ext cx="14776704" cy="16414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sz="1067" dirty="0">
                <a:cs typeface="+mn-cs"/>
              </a:rPr>
              <a:t>Footnotes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724864CF-8CD7-4C9B-9FD5-09CDA7EDF9DB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739647" y="8685523"/>
            <a:ext cx="14776704" cy="1641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1067" dirty="0">
                <a:cs typeface="+mn-cs"/>
              </a:rPr>
              <a:t>Источник: …</a:t>
            </a:r>
          </a:p>
        </p:txBody>
      </p:sp>
    </p:spTree>
    <p:extLst>
      <p:ext uri="{BB962C8B-B14F-4D97-AF65-F5344CB8AC3E}">
        <p14:creationId xmlns:p14="http://schemas.microsoft.com/office/powerpoint/2010/main" val="782632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Myriad Pro Black"/>
                <a:cs typeface="Myriad Pro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chemeClr val="tx1"/>
                </a:solidFill>
                <a:latin typeface="Myriad Pro"/>
                <a:cs typeface="Myriad Pro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52D321-0056-4439-8140-7D79E85FA27F}" type="datetime1">
              <a:rPr lang="en-US" smtClean="0"/>
              <a:t>6/3/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102D69"/>
                </a:solidFill>
                <a:latin typeface="Myriad Pro"/>
                <a:cs typeface="Myriad Pro"/>
              </a:defRPr>
            </a:lvl1pPr>
          </a:lstStyle>
          <a:p>
            <a:pPr marL="381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 object 17"/>
          <p:cNvSpPr/>
          <p:nvPr/>
        </p:nvSpPr>
        <p:spPr>
          <a:xfrm>
            <a:off x="0" y="1003300"/>
            <a:ext cx="660400" cy="965200"/>
          </a:xfrm>
          <a:custGeom>
            <a:avLst/>
            <a:gdLst/>
            <a:ahLst/>
            <a:cxnLst/>
            <a:rect l="l" t="t" r="r" b="b"/>
            <a:pathLst>
              <a:path w="660400" h="965200">
                <a:moveTo>
                  <a:pt x="660400" y="0"/>
                </a:moveTo>
                <a:lnTo>
                  <a:pt x="0" y="0"/>
                </a:lnTo>
                <a:lnTo>
                  <a:pt x="0" y="965200"/>
                </a:lnTo>
                <a:lnTo>
                  <a:pt x="660400" y="965200"/>
                </a:lnTo>
                <a:lnTo>
                  <a:pt x="660400" y="0"/>
                </a:lnTo>
                <a:close/>
              </a:path>
            </a:pathLst>
          </a:custGeom>
          <a:solidFill>
            <a:srgbClr val="CB2F0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Myriad Pro Black"/>
                <a:cs typeface="Myriad Pro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12800" y="2103120"/>
            <a:ext cx="7071360" cy="6035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8371840" y="2103120"/>
            <a:ext cx="7071360" cy="6035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32D05D-2D7F-41B0-A573-60D364AED6E3}" type="datetime1">
              <a:rPr lang="en-US" smtClean="0"/>
              <a:t>6/3/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102D69"/>
                </a:solidFill>
                <a:latin typeface="Myriad Pro"/>
                <a:cs typeface="Myriad Pro"/>
              </a:defRPr>
            </a:lvl1pPr>
          </a:lstStyle>
          <a:p>
            <a:pPr marL="381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016000" y="8242300"/>
            <a:ext cx="3873500" cy="0"/>
          </a:xfrm>
          <a:custGeom>
            <a:avLst/>
            <a:gdLst/>
            <a:ahLst/>
            <a:cxnLst/>
            <a:rect l="l" t="t" r="r" b="b"/>
            <a:pathLst>
              <a:path w="3873500">
                <a:moveTo>
                  <a:pt x="0" y="0"/>
                </a:moveTo>
                <a:lnTo>
                  <a:pt x="3873500" y="0"/>
                </a:lnTo>
              </a:path>
            </a:pathLst>
          </a:custGeom>
          <a:ln w="12700">
            <a:solidFill>
              <a:srgbClr val="102D6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0" y="1003300"/>
            <a:ext cx="660400" cy="965200"/>
          </a:xfrm>
          <a:custGeom>
            <a:avLst/>
            <a:gdLst/>
            <a:ahLst/>
            <a:cxnLst/>
            <a:rect l="l" t="t" r="r" b="b"/>
            <a:pathLst>
              <a:path w="660400" h="965200">
                <a:moveTo>
                  <a:pt x="660400" y="0"/>
                </a:moveTo>
                <a:lnTo>
                  <a:pt x="0" y="0"/>
                </a:lnTo>
                <a:lnTo>
                  <a:pt x="0" y="965200"/>
                </a:lnTo>
                <a:lnTo>
                  <a:pt x="660400" y="965200"/>
                </a:lnTo>
                <a:lnTo>
                  <a:pt x="660400" y="0"/>
                </a:lnTo>
                <a:close/>
              </a:path>
            </a:pathLst>
          </a:custGeom>
          <a:solidFill>
            <a:srgbClr val="CB2F0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Myriad Pro Black"/>
                <a:cs typeface="Myriad Pro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C985C2-403F-4418-8389-2C8DEF9729CA}" type="datetime1">
              <a:rPr lang="en-US" smtClean="0"/>
              <a:t>6/3/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102D69"/>
                </a:solidFill>
                <a:latin typeface="Myriad Pro"/>
                <a:cs typeface="Myriad Pro"/>
              </a:defRPr>
            </a:lvl1pPr>
          </a:lstStyle>
          <a:p>
            <a:pPr marL="381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99E965-7B67-4D0C-9CBA-06C6C8C7F87E}" type="datetime1">
              <a:rPr lang="en-US" smtClean="0"/>
              <a:t>6/3/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102D69"/>
                </a:solidFill>
                <a:latin typeface="Myriad Pro"/>
                <a:cs typeface="Myriad Pro"/>
              </a:defRPr>
            </a:lvl1pPr>
          </a:lstStyle>
          <a:p>
            <a:pPr marL="381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71722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944024-0BA8-4861-9274-2231028546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ru-RU" sz="4267" b="1" i="0" baseline="0" dirty="0">
              <a:solidFill>
                <a:schemeClr val="bg1"/>
              </a:solidFill>
              <a:latin typeface="Arial Black" panose="020B0A04020102020204" pitchFamily="34" charset="0"/>
              <a:ea typeface="+mn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141542" y="8207115"/>
            <a:ext cx="14631857" cy="2872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43062" y="7561436"/>
            <a:ext cx="14631857" cy="4103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2667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1141542" y="6024050"/>
            <a:ext cx="14631857" cy="131318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ru-RU" sz="4267" cap="all" spc="60" dirty="0">
                <a:solidFill>
                  <a:schemeClr val="tx2"/>
                </a:solidFill>
                <a:latin typeface="Arial Black" panose="020B0A04020102020204" pitchFamily="34" charset="0"/>
                <a:ea typeface="+mn-ea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r>
              <a:rPr lang="ru-RU" dirty="0"/>
              <a:t> </a:t>
            </a:r>
            <a:br>
              <a:rPr lang="en-US" dirty="0"/>
            </a:br>
            <a:r>
              <a:rPr lang="ru-RU" dirty="0"/>
              <a:t>(2 </a:t>
            </a:r>
            <a:r>
              <a:rPr lang="en-US" dirty="0"/>
              <a:t>LINES</a:t>
            </a:r>
            <a:r>
              <a:rPr lang="ru-RU" dirty="0"/>
              <a:t>)</a:t>
            </a:r>
          </a:p>
        </p:txBody>
      </p:sp>
      <p:sp>
        <p:nvSpPr>
          <p:cNvPr id="29" name="object 2">
            <a:extLst>
              <a:ext uri="{FF2B5EF4-FFF2-40B4-BE49-F238E27FC236}">
                <a16:creationId xmlns:a16="http://schemas.microsoft.com/office/drawing/2014/main" id="{DC62A12B-680C-422D-9F91-7D1DA7266BBB}"/>
              </a:ext>
            </a:extLst>
          </p:cNvPr>
          <p:cNvSpPr>
            <a:spLocks/>
          </p:cNvSpPr>
          <p:nvPr userDrawn="1"/>
        </p:nvSpPr>
        <p:spPr>
          <a:xfrm>
            <a:off x="0" y="6024049"/>
            <a:ext cx="880533" cy="1313180"/>
          </a:xfrm>
          <a:custGeom>
            <a:avLst/>
            <a:gdLst/>
            <a:ahLst/>
            <a:cxnLst/>
            <a:rect l="l" t="t" r="r" b="b"/>
            <a:pathLst>
              <a:path w="660400" h="965200">
                <a:moveTo>
                  <a:pt x="660400" y="0"/>
                </a:moveTo>
                <a:lnTo>
                  <a:pt x="0" y="0"/>
                </a:lnTo>
                <a:lnTo>
                  <a:pt x="0" y="965200"/>
                </a:lnTo>
                <a:lnTo>
                  <a:pt x="660400" y="965200"/>
                </a:lnTo>
                <a:lnTo>
                  <a:pt x="66040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2400" dirty="0"/>
          </a:p>
        </p:txBody>
      </p:sp>
      <p:sp>
        <p:nvSpPr>
          <p:cNvPr id="30" name="object 4">
            <a:extLst>
              <a:ext uri="{FF2B5EF4-FFF2-40B4-BE49-F238E27FC236}">
                <a16:creationId xmlns:a16="http://schemas.microsoft.com/office/drawing/2014/main" id="{8917F856-0779-47D6-91A9-E4B980214EED}"/>
              </a:ext>
            </a:extLst>
          </p:cNvPr>
          <p:cNvSpPr/>
          <p:nvPr userDrawn="1"/>
        </p:nvSpPr>
        <p:spPr>
          <a:xfrm>
            <a:off x="4235" y="1806773"/>
            <a:ext cx="16251765" cy="4036276"/>
          </a:xfrm>
          <a:prstGeom prst="rect">
            <a:avLst/>
          </a:prstGeom>
          <a:blipFill>
            <a:blip r:embed="rId10" cstate="print"/>
            <a:srcRect/>
            <a:stretch>
              <a:fillRect t="-16957" b="-16957"/>
            </a:stretch>
          </a:blipFill>
        </p:spPr>
        <p:txBody>
          <a:bodyPr wrap="square" lIns="0" tIns="0" rIns="0" bIns="0" rtlCol="0"/>
          <a:lstStyle/>
          <a:p>
            <a:endParaRPr sz="2400" dirty="0"/>
          </a:p>
        </p:txBody>
      </p:sp>
      <p:pic>
        <p:nvPicPr>
          <p:cNvPr id="31" name="Рисунок 8">
            <a:extLst>
              <a:ext uri="{FF2B5EF4-FFF2-40B4-BE49-F238E27FC236}">
                <a16:creationId xmlns:a16="http://schemas.microsoft.com/office/drawing/2014/main" id="{D8EF5518-4AE4-407F-9BD4-C354711DBF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61" t="25442" r="17314" b="17314"/>
          <a:stretch/>
        </p:blipFill>
        <p:spPr>
          <a:xfrm>
            <a:off x="14478000" y="383454"/>
            <a:ext cx="1295400" cy="1128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6908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710021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EDED69-5E8B-4D07-B5EC-54F0AC1C332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en-US" sz="2933" b="1" i="0" baseline="0" dirty="0">
              <a:solidFill>
                <a:schemeClr val="bg1"/>
              </a:solidFill>
              <a:latin typeface="Arial Black" panose="020B0A04020102020204" pitchFamily="34" charset="0"/>
              <a:ea typeface="+mj-ea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57475" y="439719"/>
            <a:ext cx="14458877" cy="902811"/>
          </a:xfrm>
        </p:spPr>
        <p:txBody>
          <a:bodyPr vert="horz" wrap="square" lIns="0" tIns="0" rIns="0" bIns="0" rtlCol="0" anchor="ctr" anchorCtr="0">
            <a:no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2933" b="1" kern="1200" spc="0" baseline="0" dirty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Arial Black" panose="020B0A040201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057475" y="1422514"/>
            <a:ext cx="14458877" cy="32829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2133" b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44C30949-359D-483D-8AB0-470F0738EC4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1057475" y="8441058"/>
            <a:ext cx="10240445" cy="16414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Footnotes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C638687-9D2C-4819-8EA7-89C77797F3C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1057475" y="8789935"/>
            <a:ext cx="10240445" cy="1641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Источник: …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AC17CCDC-FC12-4DED-95F2-F5BEFA3857E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5082352" y="8769416"/>
            <a:ext cx="434001" cy="205184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1333" b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333" b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DFD07A5A-E503-48D4-A4DB-8D2398164B2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057475" y="55463"/>
            <a:ext cx="5124447" cy="1641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ru-RU" sz="1067" b="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3" name="object 2">
            <a:extLst>
              <a:ext uri="{FF2B5EF4-FFF2-40B4-BE49-F238E27FC236}">
                <a16:creationId xmlns:a16="http://schemas.microsoft.com/office/drawing/2014/main" id="{12753395-3805-4161-AF75-0505A94BEE99}"/>
              </a:ext>
            </a:extLst>
          </p:cNvPr>
          <p:cNvSpPr>
            <a:spLocks/>
          </p:cNvSpPr>
          <p:nvPr userDrawn="1"/>
        </p:nvSpPr>
        <p:spPr>
          <a:xfrm>
            <a:off x="0" y="439719"/>
            <a:ext cx="880533" cy="902811"/>
          </a:xfrm>
          <a:custGeom>
            <a:avLst/>
            <a:gdLst/>
            <a:ahLst/>
            <a:cxnLst/>
            <a:rect l="l" t="t" r="r" b="b"/>
            <a:pathLst>
              <a:path w="660400" h="965200">
                <a:moveTo>
                  <a:pt x="660400" y="0"/>
                </a:moveTo>
                <a:lnTo>
                  <a:pt x="0" y="0"/>
                </a:lnTo>
                <a:lnTo>
                  <a:pt x="0" y="965200"/>
                </a:lnTo>
                <a:lnTo>
                  <a:pt x="660400" y="965200"/>
                </a:lnTo>
                <a:lnTo>
                  <a:pt x="66040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91194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861275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A28EB64-43CF-4D35-9CEE-7514EDB6719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en-US" sz="2933" b="1" i="0" baseline="0" dirty="0">
              <a:solidFill>
                <a:schemeClr val="bg1"/>
              </a:solidFill>
              <a:latin typeface="Arial Black" panose="020B0A04020102020204" pitchFamily="34" charset="0"/>
              <a:ea typeface="+mj-ea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4" name="object 2">
            <a:extLst>
              <a:ext uri="{FF2B5EF4-FFF2-40B4-BE49-F238E27FC236}">
                <a16:creationId xmlns:a16="http://schemas.microsoft.com/office/drawing/2014/main" id="{DB7C43A1-57E2-4E6E-8520-C8AABA552DEE}"/>
              </a:ext>
            </a:extLst>
          </p:cNvPr>
          <p:cNvSpPr>
            <a:spLocks/>
          </p:cNvSpPr>
          <p:nvPr userDrawn="1"/>
        </p:nvSpPr>
        <p:spPr>
          <a:xfrm>
            <a:off x="0" y="-6221"/>
            <a:ext cx="16256000" cy="9150220"/>
          </a:xfrm>
          <a:custGeom>
            <a:avLst/>
            <a:gdLst/>
            <a:ahLst/>
            <a:cxnLst/>
            <a:rect l="l" t="t" r="r" b="b"/>
            <a:pathLst>
              <a:path w="16256000" h="9144000">
                <a:moveTo>
                  <a:pt x="16256000" y="0"/>
                </a:moveTo>
                <a:lnTo>
                  <a:pt x="0" y="0"/>
                </a:lnTo>
                <a:lnTo>
                  <a:pt x="0" y="9144000"/>
                </a:lnTo>
                <a:lnTo>
                  <a:pt x="16256000" y="91440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CB2F0D"/>
          </a:solidFill>
        </p:spPr>
        <p:txBody>
          <a:bodyPr wrap="square" lIns="0" tIns="0" rIns="0" bIns="0" rtlCol="0">
            <a:noAutofit/>
          </a:bodyPr>
          <a:lstStyle/>
          <a:p>
            <a:endParaRPr sz="2400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1057476" y="8789935"/>
            <a:ext cx="13865025" cy="1641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1067" dirty="0">
                <a:solidFill>
                  <a:schemeClr val="bg1"/>
                </a:solidFill>
                <a:cs typeface="+mn-cs"/>
              </a:rPr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5"/>
            </p:custDataLst>
          </p:nvPr>
        </p:nvSpPr>
        <p:spPr>
          <a:xfrm>
            <a:off x="1057473" y="55463"/>
            <a:ext cx="5124448" cy="1641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ru-RU" sz="1067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pic>
        <p:nvPicPr>
          <p:cNvPr id="15" name="Рисунок 8">
            <a:extLst>
              <a:ext uri="{FF2B5EF4-FFF2-40B4-BE49-F238E27FC236}">
                <a16:creationId xmlns:a16="http://schemas.microsoft.com/office/drawing/2014/main" id="{138262FE-EE69-4653-BDA6-DC4D701B79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alphaModFix amt="17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75" t="25442" r="32534" b="38466"/>
          <a:stretch/>
        </p:blipFill>
        <p:spPr>
          <a:xfrm>
            <a:off x="14743064" y="487160"/>
            <a:ext cx="798689" cy="803177"/>
          </a:xfrm>
          <a:prstGeom prst="rect">
            <a:avLst/>
          </a:prstGeom>
        </p:spPr>
      </p:pic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 userDrawn="1">
            <p:ph type="title"/>
            <p:custDataLst>
              <p:tags r:id="rId6"/>
            </p:custDataLst>
          </p:nvPr>
        </p:nvSpPr>
        <p:spPr>
          <a:xfrm>
            <a:off x="1057474" y="1860832"/>
            <a:ext cx="14458879" cy="90281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ru-RU" dirty="0">
                <a:solidFill>
                  <a:schemeClr val="bg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6" name="Sticker" hidden="1">
            <a:extLst>
              <a:ext uri="{FF2B5EF4-FFF2-40B4-BE49-F238E27FC236}">
                <a16:creationId xmlns:a16="http://schemas.microsoft.com/office/drawing/2014/main" id="{C0ECF922-703C-4FA0-882B-EB2D0A735B2C}"/>
              </a:ext>
            </a:extLst>
          </p:cNvPr>
          <p:cNvSpPr txBox="1"/>
          <p:nvPr userDrawn="1"/>
        </p:nvSpPr>
        <p:spPr>
          <a:xfrm>
            <a:off x="14076352" y="55463"/>
            <a:ext cx="1440000" cy="16421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pPr lvl="0" algn="r"/>
            <a:r>
              <a:rPr lang="ru-RU" sz="1067" dirty="0">
                <a:solidFill>
                  <a:schemeClr val="bg1"/>
                </a:solidFill>
              </a:rPr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11568453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728105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FF6C270-39B2-48FD-BAC6-E439AF0EA0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ru-RU" sz="2933" b="1" i="0" baseline="0" dirty="0">
              <a:solidFill>
                <a:schemeClr val="bg1"/>
              </a:solidFill>
              <a:latin typeface="Myriad Pro Black" panose="020B0903030403020204" pitchFamily="34" charset="0"/>
              <a:ea typeface="+mj-ea"/>
              <a:cs typeface="+mj-cs"/>
              <a:sym typeface="Myriad Pro Black" panose="020B0903030403020204" pitchFamily="34" charset="0"/>
            </a:endParaRPr>
          </a:p>
        </p:txBody>
      </p:sp>
      <p:sp>
        <p:nvSpPr>
          <p:cNvPr id="13" name="4. Footnote" hidden="1">
            <a:extLst>
              <a:ext uri="{FF2B5EF4-FFF2-40B4-BE49-F238E27FC236}">
                <a16:creationId xmlns:a16="http://schemas.microsoft.com/office/drawing/2014/main" id="{AA02EE99-53A8-4C7C-8962-0D63EC734C69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1057475" y="8440993"/>
            <a:ext cx="14458877" cy="1642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Footnotes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815E207E-5E76-49DE-8198-0BF5F72E95D4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1057475" y="8789935"/>
            <a:ext cx="13865028" cy="1641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Источник: …</a:t>
            </a:r>
          </a:p>
        </p:txBody>
      </p:sp>
      <p:sp>
        <p:nvSpPr>
          <p:cNvPr id="12" name="object 2">
            <a:extLst>
              <a:ext uri="{FF2B5EF4-FFF2-40B4-BE49-F238E27FC236}">
                <a16:creationId xmlns:a16="http://schemas.microsoft.com/office/drawing/2014/main" id="{064A7B97-8FDA-497B-B92A-BB87E5170E04}"/>
              </a:ext>
            </a:extLst>
          </p:cNvPr>
          <p:cNvSpPr>
            <a:spLocks/>
          </p:cNvSpPr>
          <p:nvPr userDrawn="1"/>
        </p:nvSpPr>
        <p:spPr>
          <a:xfrm>
            <a:off x="4235" y="4932483"/>
            <a:ext cx="3890432" cy="902811"/>
          </a:xfrm>
          <a:custGeom>
            <a:avLst/>
            <a:gdLst/>
            <a:ahLst/>
            <a:cxnLst/>
            <a:rect l="l" t="t" r="r" b="b"/>
            <a:pathLst>
              <a:path w="660400" h="965200">
                <a:moveTo>
                  <a:pt x="660400" y="0"/>
                </a:moveTo>
                <a:lnTo>
                  <a:pt x="0" y="0"/>
                </a:lnTo>
                <a:lnTo>
                  <a:pt x="0" y="965200"/>
                </a:lnTo>
                <a:lnTo>
                  <a:pt x="660400" y="965200"/>
                </a:lnTo>
                <a:lnTo>
                  <a:pt x="660400" y="0"/>
                </a:lnTo>
                <a:close/>
              </a:path>
            </a:pathLst>
          </a:custGeom>
          <a:solidFill>
            <a:srgbClr val="CB2F0D"/>
          </a:solidFill>
        </p:spPr>
        <p:txBody>
          <a:bodyPr wrap="square" lIns="0" tIns="0" rIns="0" bIns="0" rtlCol="0">
            <a:noAutofit/>
          </a:bodyPr>
          <a:lstStyle/>
          <a:p>
            <a:endParaRPr sz="2400" dirty="0"/>
          </a:p>
        </p:txBody>
      </p:sp>
      <p:sp>
        <p:nvSpPr>
          <p:cNvPr id="17" name="3. Subtitle">
            <a:extLst>
              <a:ext uri="{FF2B5EF4-FFF2-40B4-BE49-F238E27FC236}">
                <a16:creationId xmlns:a16="http://schemas.microsoft.com/office/drawing/2014/main" id="{86BDD2EE-F26B-4719-B1C0-5EF4F77EA7F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071608" y="5968710"/>
            <a:ext cx="11444744" cy="32829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ru-RU" sz="16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2133" dirty="0"/>
              <a:t>Click to edit Master subtitle style</a:t>
            </a:r>
          </a:p>
        </p:txBody>
      </p:sp>
      <p:sp>
        <p:nvSpPr>
          <p:cNvPr id="18" name="2. Slide Title">
            <a:extLst>
              <a:ext uri="{FF2B5EF4-FFF2-40B4-BE49-F238E27FC236}">
                <a16:creationId xmlns:a16="http://schemas.microsoft.com/office/drawing/2014/main" id="{1EC9AE0C-2366-4401-8E6E-9B4F3E11F479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4071608" y="4932483"/>
            <a:ext cx="11444744" cy="9028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2200" b="1" kern="1200" spc="0" baseline="0" dirty="0">
                <a:ln w="6350" cap="flat">
                  <a:noFill/>
                  <a:miter lim="800000"/>
                </a:ln>
                <a:solidFill>
                  <a:srgbClr val="000000"/>
                </a:solidFill>
                <a:latin typeface="Myriad Pro Black" panose="020B0903030403020204" pitchFamily="34" charset="0"/>
                <a:ea typeface="+mj-ea"/>
                <a:cs typeface="+mj-cs"/>
              </a:defRPr>
            </a:lvl1pPr>
          </a:lstStyle>
          <a:p>
            <a:r>
              <a:rPr lang="en-US" sz="2933" dirty="0">
                <a:latin typeface="Arial Black" panose="020B0A04020102020204" pitchFamily="34" charset="0"/>
              </a:rPr>
              <a:t>"</a:t>
            </a:r>
            <a:r>
              <a:rPr lang="ru-RU" sz="2933" dirty="0">
                <a:latin typeface="Arial Black" panose="020B0A04020102020204" pitchFamily="34" charset="0"/>
              </a:rPr>
              <a:t>Click to add quote</a:t>
            </a:r>
            <a:r>
              <a:rPr lang="en-US" sz="2933" dirty="0">
                <a:latin typeface="Arial Black" panose="020B0A04020102020204" pitchFamily="34" charset="0"/>
              </a:rPr>
              <a:t>"</a:t>
            </a:r>
            <a:endParaRPr lang="en-US" sz="2933" dirty="0">
              <a:solidFill>
                <a:srgbClr val="000000"/>
              </a:solidFill>
              <a:latin typeface="Arial Black" panose="020B0A04020102020204" pitchFamily="34" charset="0"/>
            </a:endParaRP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6BA1F37E-DEC5-428E-B836-420E5C4B2C2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057475" y="55463"/>
            <a:ext cx="5124451" cy="1641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1067" b="0" dirty="0">
                <a:solidFill>
                  <a:schemeClr val="accent4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21" name="Sticker" hidden="1">
            <a:extLst>
              <a:ext uri="{FF2B5EF4-FFF2-40B4-BE49-F238E27FC236}">
                <a16:creationId xmlns:a16="http://schemas.microsoft.com/office/drawing/2014/main" id="{5F2CCD83-DCC1-4051-8D3D-9ADECF42558E}"/>
              </a:ext>
            </a:extLst>
          </p:cNvPr>
          <p:cNvSpPr txBox="1"/>
          <p:nvPr userDrawn="1"/>
        </p:nvSpPr>
        <p:spPr>
          <a:xfrm>
            <a:off x="14076352" y="55463"/>
            <a:ext cx="1440000" cy="16421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pPr lvl="0" algn="r"/>
            <a:r>
              <a:rPr lang="ru-RU" sz="1067" dirty="0"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A70E3DE7-BF3C-4A55-8985-D8E024C8F67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5082352" y="8769416"/>
            <a:ext cx="434001" cy="205184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1333" b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333" b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317175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tags" Target="../tags/tag13.xml"/><Relationship Id="rId21" Type="http://schemas.openxmlformats.org/officeDocument/2006/relationships/tags" Target="../tags/tag8.xml"/><Relationship Id="rId42" Type="http://schemas.openxmlformats.org/officeDocument/2006/relationships/tags" Target="../tags/tag29.xml"/><Relationship Id="rId47" Type="http://schemas.openxmlformats.org/officeDocument/2006/relationships/tags" Target="../tags/tag34.xml"/><Relationship Id="rId63" Type="http://schemas.openxmlformats.org/officeDocument/2006/relationships/tags" Target="../tags/tag50.xml"/><Relationship Id="rId68" Type="http://schemas.openxmlformats.org/officeDocument/2006/relationships/tags" Target="../tags/tag55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3.xml"/><Relationship Id="rId29" Type="http://schemas.openxmlformats.org/officeDocument/2006/relationships/tags" Target="../tags/tag16.xml"/><Relationship Id="rId11" Type="http://schemas.openxmlformats.org/officeDocument/2006/relationships/slideLayout" Target="../slideLayouts/slideLayout16.xml"/><Relationship Id="rId24" Type="http://schemas.openxmlformats.org/officeDocument/2006/relationships/tags" Target="../tags/tag11.xml"/><Relationship Id="rId32" Type="http://schemas.openxmlformats.org/officeDocument/2006/relationships/tags" Target="../tags/tag19.xml"/><Relationship Id="rId37" Type="http://schemas.openxmlformats.org/officeDocument/2006/relationships/tags" Target="../tags/tag24.xml"/><Relationship Id="rId40" Type="http://schemas.openxmlformats.org/officeDocument/2006/relationships/tags" Target="../tags/tag27.xml"/><Relationship Id="rId45" Type="http://schemas.openxmlformats.org/officeDocument/2006/relationships/tags" Target="../tags/tag32.xml"/><Relationship Id="rId53" Type="http://schemas.openxmlformats.org/officeDocument/2006/relationships/tags" Target="../tags/tag40.xml"/><Relationship Id="rId58" Type="http://schemas.openxmlformats.org/officeDocument/2006/relationships/tags" Target="../tags/tag45.xml"/><Relationship Id="rId66" Type="http://schemas.openxmlformats.org/officeDocument/2006/relationships/tags" Target="../tags/tag53.xml"/><Relationship Id="rId5" Type="http://schemas.openxmlformats.org/officeDocument/2006/relationships/slideLayout" Target="../slideLayouts/slideLayout10.xml"/><Relationship Id="rId61" Type="http://schemas.openxmlformats.org/officeDocument/2006/relationships/tags" Target="../tags/tag48.xml"/><Relationship Id="rId19" Type="http://schemas.openxmlformats.org/officeDocument/2006/relationships/tags" Target="../tags/tag6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Relationship Id="rId35" Type="http://schemas.openxmlformats.org/officeDocument/2006/relationships/tags" Target="../tags/tag22.xml"/><Relationship Id="rId43" Type="http://schemas.openxmlformats.org/officeDocument/2006/relationships/tags" Target="../tags/tag30.xml"/><Relationship Id="rId48" Type="http://schemas.openxmlformats.org/officeDocument/2006/relationships/tags" Target="../tags/tag35.xml"/><Relationship Id="rId56" Type="http://schemas.openxmlformats.org/officeDocument/2006/relationships/tags" Target="../tags/tag43.xml"/><Relationship Id="rId64" Type="http://schemas.openxmlformats.org/officeDocument/2006/relationships/tags" Target="../tags/tag51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13.xml"/><Relationship Id="rId51" Type="http://schemas.openxmlformats.org/officeDocument/2006/relationships/tags" Target="../tags/tag38.xml"/><Relationship Id="rId72" Type="http://schemas.openxmlformats.org/officeDocument/2006/relationships/image" Target="../media/image3.svg"/><Relationship Id="rId3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33" Type="http://schemas.openxmlformats.org/officeDocument/2006/relationships/tags" Target="../tags/tag20.xml"/><Relationship Id="rId38" Type="http://schemas.openxmlformats.org/officeDocument/2006/relationships/tags" Target="../tags/tag25.xml"/><Relationship Id="rId46" Type="http://schemas.openxmlformats.org/officeDocument/2006/relationships/tags" Target="../tags/tag33.xml"/><Relationship Id="rId59" Type="http://schemas.openxmlformats.org/officeDocument/2006/relationships/tags" Target="../tags/tag46.xml"/><Relationship Id="rId67" Type="http://schemas.openxmlformats.org/officeDocument/2006/relationships/tags" Target="../tags/tag54.xml"/><Relationship Id="rId20" Type="http://schemas.openxmlformats.org/officeDocument/2006/relationships/tags" Target="../tags/tag7.xml"/><Relationship Id="rId41" Type="http://schemas.openxmlformats.org/officeDocument/2006/relationships/tags" Target="../tags/tag28.xml"/><Relationship Id="rId54" Type="http://schemas.openxmlformats.org/officeDocument/2006/relationships/tags" Target="../tags/tag41.xml"/><Relationship Id="rId62" Type="http://schemas.openxmlformats.org/officeDocument/2006/relationships/tags" Target="../tags/tag49.xml"/><Relationship Id="rId70" Type="http://schemas.openxmlformats.org/officeDocument/2006/relationships/image" Target="../media/image1.emf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36" Type="http://schemas.openxmlformats.org/officeDocument/2006/relationships/tags" Target="../tags/tag23.xml"/><Relationship Id="rId49" Type="http://schemas.openxmlformats.org/officeDocument/2006/relationships/tags" Target="../tags/tag36.xml"/><Relationship Id="rId57" Type="http://schemas.openxmlformats.org/officeDocument/2006/relationships/tags" Target="../tags/tag44.xml"/><Relationship Id="rId10" Type="http://schemas.openxmlformats.org/officeDocument/2006/relationships/slideLayout" Target="../slideLayouts/slideLayout15.xml"/><Relationship Id="rId31" Type="http://schemas.openxmlformats.org/officeDocument/2006/relationships/tags" Target="../tags/tag18.xml"/><Relationship Id="rId44" Type="http://schemas.openxmlformats.org/officeDocument/2006/relationships/tags" Target="../tags/tag31.xml"/><Relationship Id="rId52" Type="http://schemas.openxmlformats.org/officeDocument/2006/relationships/tags" Target="../tags/tag39.xml"/><Relationship Id="rId60" Type="http://schemas.openxmlformats.org/officeDocument/2006/relationships/tags" Target="../tags/tag47.xml"/><Relationship Id="rId65" Type="http://schemas.openxmlformats.org/officeDocument/2006/relationships/tags" Target="../tags/tag52.xml"/><Relationship Id="rId73" Type="http://schemas.openxmlformats.org/officeDocument/2006/relationships/image" Target="../media/image4.png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39" Type="http://schemas.openxmlformats.org/officeDocument/2006/relationships/tags" Target="../tags/tag26.xml"/><Relationship Id="rId34" Type="http://schemas.openxmlformats.org/officeDocument/2006/relationships/tags" Target="../tags/tag21.xml"/><Relationship Id="rId50" Type="http://schemas.openxmlformats.org/officeDocument/2006/relationships/tags" Target="../tags/tag37.xml"/><Relationship Id="rId55" Type="http://schemas.openxmlformats.org/officeDocument/2006/relationships/tags" Target="../tags/tag42.xml"/><Relationship Id="rId7" Type="http://schemas.openxmlformats.org/officeDocument/2006/relationships/slideLayout" Target="../slideLayouts/slideLayout12.xml"/><Relationship Id="rId71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016000" y="8242300"/>
            <a:ext cx="3873500" cy="0"/>
          </a:xfrm>
          <a:custGeom>
            <a:avLst/>
            <a:gdLst/>
            <a:ahLst/>
            <a:cxnLst/>
            <a:rect l="l" t="t" r="r" b="b"/>
            <a:pathLst>
              <a:path w="3873500">
                <a:moveTo>
                  <a:pt x="0" y="0"/>
                </a:moveTo>
                <a:lnTo>
                  <a:pt x="3873500" y="0"/>
                </a:lnTo>
              </a:path>
            </a:pathLst>
          </a:custGeom>
          <a:ln w="12700">
            <a:solidFill>
              <a:srgbClr val="102D6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165940" y="4175650"/>
            <a:ext cx="7924118" cy="6959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chemeClr val="tx1"/>
                </a:solidFill>
                <a:latin typeface="Myriad Pro Black"/>
                <a:cs typeface="Myriad Pro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02030" y="4089400"/>
            <a:ext cx="14251939" cy="2057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chemeClr val="tx1"/>
                </a:solidFill>
                <a:latin typeface="Myriad Pro"/>
                <a:cs typeface="Myriad Pro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5527040" y="8503920"/>
            <a:ext cx="5201920" cy="45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812800" y="8503920"/>
            <a:ext cx="3738880" cy="45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8ABB7-0EE1-49BB-AB1A-0B1B2CEDFA73}" type="datetime1">
              <a:rPr lang="en-US" smtClean="0"/>
              <a:t>6/3/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5110691" y="8307984"/>
            <a:ext cx="167640" cy="2393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rgbClr val="102D69"/>
                </a:solidFill>
                <a:latin typeface="Myriad Pro"/>
                <a:cs typeface="Myriad Pro"/>
              </a:defRPr>
            </a:lvl1pPr>
          </a:lstStyle>
          <a:p>
            <a:pPr marL="381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9664050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think-cell Slide" r:id="rId69" imgW="413" imgH="416" progId="TCLayout.ActiveDocument.1">
                  <p:embed/>
                </p:oleObj>
              </mc:Choice>
              <mc:Fallback>
                <p:oleObj name="think-cell Slide" r:id="rId6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19F4DE3-7B45-4163-8595-6466D26DF88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en-US" sz="2933" b="1" i="0" baseline="0" dirty="0">
              <a:solidFill>
                <a:schemeClr val="bg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>
            <a:spLocks/>
          </p:cNvSpPr>
          <p:nvPr userDrawn="1">
            <p:custDataLst>
              <p:tags r:id="rId16"/>
            </p:custDataLst>
          </p:nvPr>
        </p:nvSpPr>
        <p:spPr>
          <a:xfrm>
            <a:off x="1057475" y="8440993"/>
            <a:ext cx="14458877" cy="1642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>
          <a:xfrm>
            <a:off x="1057475" y="439719"/>
            <a:ext cx="14458877" cy="9028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5005474" y="2895601"/>
            <a:ext cx="4065671" cy="6564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2133" dirty="0">
                <a:cs typeface="+mn-cs"/>
              </a:rPr>
              <a:t>Above Chart Exhibit Title</a:t>
            </a:r>
            <a:br>
              <a:rPr lang="en-US" sz="2133" dirty="0">
                <a:cs typeface="+mn-cs"/>
              </a:rPr>
            </a:br>
            <a:r>
              <a:rPr lang="en-US" sz="2133" b="0" dirty="0">
                <a:cs typeface="+mn-cs"/>
              </a:rPr>
              <a:t>Units of measure</a:t>
            </a:r>
            <a:endParaRPr lang="ru-RU" sz="2133" b="0" dirty="0"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7475" y="2894400"/>
            <a:ext cx="3808396" cy="1641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50" name="5. Source" hidden="1">
            <a:extLst>
              <a:ext uri="{FF2B5EF4-FFF2-40B4-BE49-F238E27FC236}">
                <a16:creationId xmlns:a16="http://schemas.microsoft.com/office/drawing/2014/main" id="{1B5DE5A7-2D1D-4A40-BE7D-BB40C3D416B3}"/>
              </a:ext>
            </a:extLst>
          </p:cNvPr>
          <p:cNvSpPr txBox="1">
            <a:spLocks/>
          </p:cNvSpPr>
          <p:nvPr userDrawn="1">
            <p:custDataLst>
              <p:tags r:id="rId19"/>
            </p:custDataLst>
          </p:nvPr>
        </p:nvSpPr>
        <p:spPr>
          <a:xfrm>
            <a:off x="1057475" y="8789935"/>
            <a:ext cx="13865028" cy="1641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1067" dirty="0">
                <a:solidFill>
                  <a:schemeClr val="tx1"/>
                </a:solidFill>
                <a:cs typeface="+mn-cs"/>
              </a:rPr>
              <a:t>Источник: …</a:t>
            </a:r>
          </a:p>
        </p:txBody>
      </p:sp>
      <p:grpSp>
        <p:nvGrpSpPr>
          <p:cNvPr id="190" name="MoonEmpty" hidden="1">
            <a:extLst>
              <a:ext uri="{FF2B5EF4-FFF2-40B4-BE49-F238E27FC236}">
                <a16:creationId xmlns:a16="http://schemas.microsoft.com/office/drawing/2014/main" id="{CFFE7BED-CCB9-4021-803A-1F3299554B9D}"/>
              </a:ext>
            </a:extLst>
          </p:cNvPr>
          <p:cNvGrpSpPr>
            <a:grpSpLocks/>
          </p:cNvGrpSpPr>
          <p:nvPr userDrawn="1">
            <p:custDataLst>
              <p:tags r:id="rId20"/>
            </p:custDataLst>
          </p:nvPr>
        </p:nvGrpSpPr>
        <p:grpSpPr>
          <a:xfrm>
            <a:off x="6165735" y="5372476"/>
            <a:ext cx="336000" cy="336001"/>
            <a:chOff x="762000" y="1270000"/>
            <a:chExt cx="254000" cy="254001"/>
          </a:xfrm>
          <a:solidFill>
            <a:schemeClr val="accent3"/>
          </a:solidFill>
        </p:grpSpPr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0478AA04-D3EA-444B-A96E-309C0FBCF9DB}"/>
                </a:ext>
              </a:extLst>
            </p:cNvPr>
            <p:cNvSpPr/>
            <p:nvPr>
              <p:custDataLst>
                <p:tags r:id="rId67"/>
              </p:custDataLst>
            </p:nvPr>
          </p:nvSpPr>
          <p:spPr>
            <a:xfrm>
              <a:off x="762000" y="1270001"/>
              <a:ext cx="254000" cy="254000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192" name="Arc 191" hidden="1">
              <a:extLst>
                <a:ext uri="{FF2B5EF4-FFF2-40B4-BE49-F238E27FC236}">
                  <a16:creationId xmlns:a16="http://schemas.microsoft.com/office/drawing/2014/main" id="{58D0E93A-334A-44A9-AF60-79F9A584429D}"/>
                </a:ext>
              </a:extLst>
            </p:cNvPr>
            <p:cNvSpPr/>
            <p:nvPr>
              <p:custDataLst>
                <p:tags r:id="rId6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193" name="MoonQuater" hidden="1">
            <a:extLst>
              <a:ext uri="{FF2B5EF4-FFF2-40B4-BE49-F238E27FC236}">
                <a16:creationId xmlns:a16="http://schemas.microsoft.com/office/drawing/2014/main" id="{04D52A60-E40D-4E25-B7B7-8DA5B3F900EF}"/>
              </a:ext>
            </a:extLst>
          </p:cNvPr>
          <p:cNvGrpSpPr>
            <a:grpSpLocks/>
          </p:cNvGrpSpPr>
          <p:nvPr userDrawn="1">
            <p:custDataLst>
              <p:tags r:id="rId21"/>
            </p:custDataLst>
          </p:nvPr>
        </p:nvGrpSpPr>
        <p:grpSpPr>
          <a:xfrm>
            <a:off x="6702309" y="5372475"/>
            <a:ext cx="336000" cy="336000"/>
            <a:chOff x="762000" y="1270000"/>
            <a:chExt cx="254000" cy="254000"/>
          </a:xfrm>
        </p:grpSpPr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CB7A59ED-ED4E-4A1F-926D-235E1CC4714A}"/>
                </a:ext>
              </a:extLst>
            </p:cNvPr>
            <p:cNvSpPr/>
            <p:nvPr>
              <p:custDataLst>
                <p:tags r:id="rId65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195" name="Arc 194">
              <a:extLst>
                <a:ext uri="{FF2B5EF4-FFF2-40B4-BE49-F238E27FC236}">
                  <a16:creationId xmlns:a16="http://schemas.microsoft.com/office/drawing/2014/main" id="{AB9F7DCB-72D4-4FB8-8D7A-3867E09DF52B}"/>
                </a:ext>
              </a:extLst>
            </p:cNvPr>
            <p:cNvSpPr/>
            <p:nvPr>
              <p:custDataLst>
                <p:tags r:id="rId66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196" name="MoonHalf" hidden="1">
            <a:extLst>
              <a:ext uri="{FF2B5EF4-FFF2-40B4-BE49-F238E27FC236}">
                <a16:creationId xmlns:a16="http://schemas.microsoft.com/office/drawing/2014/main" id="{287E82E7-EC12-4F88-84F6-329C771FEEA2}"/>
              </a:ext>
            </a:extLst>
          </p:cNvPr>
          <p:cNvGrpSpPr>
            <a:grpSpLocks/>
          </p:cNvGrpSpPr>
          <p:nvPr userDrawn="1">
            <p:custDataLst>
              <p:tags r:id="rId22"/>
            </p:custDataLst>
          </p:nvPr>
        </p:nvGrpSpPr>
        <p:grpSpPr>
          <a:xfrm>
            <a:off x="7238884" y="5372475"/>
            <a:ext cx="336000" cy="336000"/>
            <a:chOff x="762000" y="1270000"/>
            <a:chExt cx="254000" cy="254000"/>
          </a:xfrm>
        </p:grpSpPr>
        <p:sp>
          <p:nvSpPr>
            <p:cNvPr id="197" name="Oval 196">
              <a:extLst>
                <a:ext uri="{FF2B5EF4-FFF2-40B4-BE49-F238E27FC236}">
                  <a16:creationId xmlns:a16="http://schemas.microsoft.com/office/drawing/2014/main" id="{3A1B2D7A-0A56-4AC7-855A-318CB2FE769F}"/>
                </a:ext>
              </a:extLst>
            </p:cNvPr>
            <p:cNvSpPr/>
            <p:nvPr>
              <p:custDataLst>
                <p:tags r:id="rId63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200" name="Arc 199">
              <a:extLst>
                <a:ext uri="{FF2B5EF4-FFF2-40B4-BE49-F238E27FC236}">
                  <a16:creationId xmlns:a16="http://schemas.microsoft.com/office/drawing/2014/main" id="{6E75F601-8542-4E6E-A1AD-B3CBA7F0F520}"/>
                </a:ext>
              </a:extLst>
            </p:cNvPr>
            <p:cNvSpPr/>
            <p:nvPr>
              <p:custDataLst>
                <p:tags r:id="rId64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201" name="Moon3Quater" hidden="1">
            <a:extLst>
              <a:ext uri="{FF2B5EF4-FFF2-40B4-BE49-F238E27FC236}">
                <a16:creationId xmlns:a16="http://schemas.microsoft.com/office/drawing/2014/main" id="{B001C6D3-2943-46AF-AE44-A56544264239}"/>
              </a:ext>
            </a:extLst>
          </p:cNvPr>
          <p:cNvGrpSpPr>
            <a:grpSpLocks/>
          </p:cNvGrpSpPr>
          <p:nvPr userDrawn="1">
            <p:custDataLst>
              <p:tags r:id="rId23"/>
            </p:custDataLst>
          </p:nvPr>
        </p:nvGrpSpPr>
        <p:grpSpPr>
          <a:xfrm>
            <a:off x="7775459" y="5372475"/>
            <a:ext cx="336000" cy="336000"/>
            <a:chOff x="762000" y="1270000"/>
            <a:chExt cx="254000" cy="254000"/>
          </a:xfrm>
        </p:grpSpPr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EEE64A77-D556-4BE2-99F7-7FD6DCEF7EC4}"/>
                </a:ext>
              </a:extLst>
            </p:cNvPr>
            <p:cNvSpPr/>
            <p:nvPr>
              <p:custDataLst>
                <p:tags r:id="rId61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203" name="Arc 202">
              <a:extLst>
                <a:ext uri="{FF2B5EF4-FFF2-40B4-BE49-F238E27FC236}">
                  <a16:creationId xmlns:a16="http://schemas.microsoft.com/office/drawing/2014/main" id="{F7731811-2BD5-44BD-AF39-26BAEB33C475}"/>
                </a:ext>
              </a:extLst>
            </p:cNvPr>
            <p:cNvSpPr/>
            <p:nvPr>
              <p:custDataLst>
                <p:tags r:id="rId62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204" name="MoonFull" hidden="1">
            <a:extLst>
              <a:ext uri="{FF2B5EF4-FFF2-40B4-BE49-F238E27FC236}">
                <a16:creationId xmlns:a16="http://schemas.microsoft.com/office/drawing/2014/main" id="{F784CEFF-1146-426C-87E8-F6E42C031DAE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>
          <a:xfrm>
            <a:off x="8312035" y="5372475"/>
            <a:ext cx="336000" cy="336003"/>
            <a:chOff x="762000" y="1270000"/>
            <a:chExt cx="254000" cy="254002"/>
          </a:xfrm>
          <a:solidFill>
            <a:schemeClr val="accent1"/>
          </a:solidFill>
        </p:grpSpPr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34013A0A-18CC-47B8-9EDF-60B844E93744}"/>
                </a:ext>
              </a:extLst>
            </p:cNvPr>
            <p:cNvSpPr/>
            <p:nvPr>
              <p:custDataLst>
                <p:tags r:id="rId59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206" name="Arc 205">
              <a:extLst>
                <a:ext uri="{FF2B5EF4-FFF2-40B4-BE49-F238E27FC236}">
                  <a16:creationId xmlns:a16="http://schemas.microsoft.com/office/drawing/2014/main" id="{D66D6AE1-33F8-484B-8B90-213516AA212C}"/>
                </a:ext>
              </a:extLst>
            </p:cNvPr>
            <p:cNvSpPr/>
            <p:nvPr>
              <p:custDataLst>
                <p:tags r:id="rId60"/>
              </p:custDataLst>
            </p:nvPr>
          </p:nvSpPr>
          <p:spPr>
            <a:xfrm>
              <a:off x="762000" y="1270002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6350" cap="sq" cmpd="sng" algn="ctr">
              <a:noFill/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sp>
        <p:nvSpPr>
          <p:cNvPr id="208" name="StatusGauge" hidden="1">
            <a:extLst>
              <a:ext uri="{FF2B5EF4-FFF2-40B4-BE49-F238E27FC236}">
                <a16:creationId xmlns:a16="http://schemas.microsoft.com/office/drawing/2014/main" id="{1E2319AC-F1DE-4F3C-B1CB-AB2259DE15BE}"/>
              </a:ext>
            </a:extLst>
          </p:cNvPr>
          <p:cNvSpPr>
            <a:spLocks noChangeAspect="1"/>
          </p:cNvSpPr>
          <p:nvPr userDrawn="1">
            <p:custDataLst>
              <p:tags r:id="rId25"/>
            </p:custDataLst>
          </p:nvPr>
        </p:nvSpPr>
        <p:spPr>
          <a:xfrm>
            <a:off x="12265377" y="1950453"/>
            <a:ext cx="192688" cy="308704"/>
          </a:xfrm>
          <a:custGeom>
            <a:avLst/>
            <a:gdLst/>
            <a:ahLst/>
            <a:cxnLst/>
            <a:rect l="0" t="0" r="0" b="0"/>
            <a:pathLst>
              <a:path w="144465" h="231447">
                <a:moveTo>
                  <a:pt x="124165" y="78984"/>
                </a:moveTo>
                <a:lnTo>
                  <a:pt x="83487" y="38345"/>
                </a:lnTo>
                <a:lnTo>
                  <a:pt x="83487" y="220192"/>
                </a:lnTo>
                <a:lnTo>
                  <a:pt x="83487" y="226424"/>
                </a:lnTo>
                <a:lnTo>
                  <a:pt x="78462" y="231446"/>
                </a:lnTo>
                <a:lnTo>
                  <a:pt x="72232" y="231446"/>
                </a:lnTo>
                <a:lnTo>
                  <a:pt x="66002" y="231446"/>
                </a:lnTo>
                <a:lnTo>
                  <a:pt x="60976" y="226424"/>
                </a:lnTo>
                <a:lnTo>
                  <a:pt x="60976" y="220192"/>
                </a:lnTo>
                <a:lnTo>
                  <a:pt x="60976" y="38345"/>
                </a:lnTo>
                <a:lnTo>
                  <a:pt x="20300" y="79025"/>
                </a:lnTo>
                <a:lnTo>
                  <a:pt x="15918" y="83406"/>
                </a:lnTo>
                <a:lnTo>
                  <a:pt x="8763" y="83406"/>
                </a:lnTo>
                <a:lnTo>
                  <a:pt x="4381" y="79025"/>
                </a:lnTo>
                <a:lnTo>
                  <a:pt x="0" y="74643"/>
                </a:lnTo>
                <a:lnTo>
                  <a:pt x="0" y="67488"/>
                </a:lnTo>
                <a:lnTo>
                  <a:pt x="4381" y="63107"/>
                </a:lnTo>
                <a:lnTo>
                  <a:pt x="64273" y="3255"/>
                </a:lnTo>
                <a:lnTo>
                  <a:pt x="64394" y="3135"/>
                </a:lnTo>
                <a:lnTo>
                  <a:pt x="64555" y="3014"/>
                </a:lnTo>
                <a:lnTo>
                  <a:pt x="64675" y="2853"/>
                </a:lnTo>
                <a:lnTo>
                  <a:pt x="64756" y="2814"/>
                </a:lnTo>
                <a:lnTo>
                  <a:pt x="64796" y="2733"/>
                </a:lnTo>
                <a:lnTo>
                  <a:pt x="64875" y="2693"/>
                </a:lnTo>
                <a:lnTo>
                  <a:pt x="64956" y="2612"/>
                </a:lnTo>
                <a:lnTo>
                  <a:pt x="65037" y="2572"/>
                </a:lnTo>
                <a:lnTo>
                  <a:pt x="65117" y="2492"/>
                </a:lnTo>
                <a:lnTo>
                  <a:pt x="65198" y="2411"/>
                </a:lnTo>
                <a:lnTo>
                  <a:pt x="65278" y="2371"/>
                </a:lnTo>
                <a:lnTo>
                  <a:pt x="65359" y="2291"/>
                </a:lnTo>
                <a:lnTo>
                  <a:pt x="65398" y="2250"/>
                </a:lnTo>
                <a:lnTo>
                  <a:pt x="65479" y="2210"/>
                </a:lnTo>
                <a:lnTo>
                  <a:pt x="65519" y="2171"/>
                </a:lnTo>
                <a:lnTo>
                  <a:pt x="65600" y="2090"/>
                </a:lnTo>
                <a:lnTo>
                  <a:pt x="65720" y="2050"/>
                </a:lnTo>
                <a:lnTo>
                  <a:pt x="65801" y="1969"/>
                </a:lnTo>
                <a:lnTo>
                  <a:pt x="65841" y="1929"/>
                </a:lnTo>
                <a:lnTo>
                  <a:pt x="65922" y="1889"/>
                </a:lnTo>
                <a:lnTo>
                  <a:pt x="65962" y="1849"/>
                </a:lnTo>
                <a:lnTo>
                  <a:pt x="66082" y="1768"/>
                </a:lnTo>
                <a:lnTo>
                  <a:pt x="66163" y="1728"/>
                </a:lnTo>
                <a:lnTo>
                  <a:pt x="66284" y="1647"/>
                </a:lnTo>
                <a:lnTo>
                  <a:pt x="66323" y="1607"/>
                </a:lnTo>
                <a:lnTo>
                  <a:pt x="66404" y="1567"/>
                </a:lnTo>
                <a:lnTo>
                  <a:pt x="66444" y="1567"/>
                </a:lnTo>
                <a:lnTo>
                  <a:pt x="66565" y="1488"/>
                </a:lnTo>
                <a:lnTo>
                  <a:pt x="66646" y="1447"/>
                </a:lnTo>
                <a:lnTo>
                  <a:pt x="66766" y="1406"/>
                </a:lnTo>
                <a:lnTo>
                  <a:pt x="66806" y="1366"/>
                </a:lnTo>
                <a:lnTo>
                  <a:pt x="66886" y="1326"/>
                </a:lnTo>
                <a:lnTo>
                  <a:pt x="66926" y="1326"/>
                </a:lnTo>
                <a:lnTo>
                  <a:pt x="67008" y="1286"/>
                </a:lnTo>
                <a:lnTo>
                  <a:pt x="67127" y="1205"/>
                </a:lnTo>
                <a:lnTo>
                  <a:pt x="67208" y="1165"/>
                </a:lnTo>
                <a:lnTo>
                  <a:pt x="67288" y="1124"/>
                </a:lnTo>
                <a:lnTo>
                  <a:pt x="67328" y="1085"/>
                </a:lnTo>
                <a:lnTo>
                  <a:pt x="67409" y="1085"/>
                </a:lnTo>
                <a:lnTo>
                  <a:pt x="67489" y="1045"/>
                </a:lnTo>
                <a:lnTo>
                  <a:pt x="67611" y="1004"/>
                </a:lnTo>
                <a:lnTo>
                  <a:pt x="67690" y="964"/>
                </a:lnTo>
                <a:lnTo>
                  <a:pt x="67769" y="924"/>
                </a:lnTo>
                <a:lnTo>
                  <a:pt x="67851" y="884"/>
                </a:lnTo>
                <a:lnTo>
                  <a:pt x="67931" y="843"/>
                </a:lnTo>
                <a:lnTo>
                  <a:pt x="68012" y="804"/>
                </a:lnTo>
                <a:lnTo>
                  <a:pt x="68092" y="762"/>
                </a:lnTo>
                <a:lnTo>
                  <a:pt x="68172" y="762"/>
                </a:lnTo>
                <a:lnTo>
                  <a:pt x="68254" y="723"/>
                </a:lnTo>
                <a:lnTo>
                  <a:pt x="68373" y="683"/>
                </a:lnTo>
                <a:lnTo>
                  <a:pt x="68454" y="643"/>
                </a:lnTo>
                <a:lnTo>
                  <a:pt x="68534" y="602"/>
                </a:lnTo>
                <a:lnTo>
                  <a:pt x="68616" y="602"/>
                </a:lnTo>
                <a:lnTo>
                  <a:pt x="68655" y="562"/>
                </a:lnTo>
                <a:lnTo>
                  <a:pt x="68775" y="522"/>
                </a:lnTo>
                <a:lnTo>
                  <a:pt x="68855" y="481"/>
                </a:lnTo>
                <a:lnTo>
                  <a:pt x="68976" y="442"/>
                </a:lnTo>
                <a:lnTo>
                  <a:pt x="69057" y="442"/>
                </a:lnTo>
                <a:lnTo>
                  <a:pt x="69097" y="402"/>
                </a:lnTo>
                <a:lnTo>
                  <a:pt x="69177" y="402"/>
                </a:lnTo>
                <a:lnTo>
                  <a:pt x="69298" y="361"/>
                </a:lnTo>
                <a:lnTo>
                  <a:pt x="69418" y="321"/>
                </a:lnTo>
                <a:lnTo>
                  <a:pt x="69499" y="321"/>
                </a:lnTo>
                <a:lnTo>
                  <a:pt x="69539" y="321"/>
                </a:lnTo>
                <a:lnTo>
                  <a:pt x="69619" y="281"/>
                </a:lnTo>
                <a:lnTo>
                  <a:pt x="69660" y="281"/>
                </a:lnTo>
                <a:lnTo>
                  <a:pt x="69780" y="240"/>
                </a:lnTo>
                <a:lnTo>
                  <a:pt x="69901" y="240"/>
                </a:lnTo>
                <a:lnTo>
                  <a:pt x="70021" y="200"/>
                </a:lnTo>
                <a:lnTo>
                  <a:pt x="70101" y="200"/>
                </a:lnTo>
                <a:lnTo>
                  <a:pt x="70142" y="160"/>
                </a:lnTo>
                <a:lnTo>
                  <a:pt x="70222" y="160"/>
                </a:lnTo>
                <a:lnTo>
                  <a:pt x="70343" y="120"/>
                </a:lnTo>
                <a:lnTo>
                  <a:pt x="70463" y="120"/>
                </a:lnTo>
                <a:lnTo>
                  <a:pt x="70584" y="120"/>
                </a:lnTo>
                <a:lnTo>
                  <a:pt x="70665" y="120"/>
                </a:lnTo>
                <a:lnTo>
                  <a:pt x="70745" y="120"/>
                </a:lnTo>
                <a:lnTo>
                  <a:pt x="70786" y="80"/>
                </a:lnTo>
                <a:lnTo>
                  <a:pt x="70906" y="80"/>
                </a:lnTo>
                <a:lnTo>
                  <a:pt x="70986" y="40"/>
                </a:lnTo>
                <a:lnTo>
                  <a:pt x="71107" y="40"/>
                </a:lnTo>
                <a:lnTo>
                  <a:pt x="71187" y="40"/>
                </a:lnTo>
                <a:lnTo>
                  <a:pt x="71308" y="40"/>
                </a:lnTo>
                <a:lnTo>
                  <a:pt x="71388" y="0"/>
                </a:lnTo>
                <a:lnTo>
                  <a:pt x="71468" y="0"/>
                </a:lnTo>
                <a:lnTo>
                  <a:pt x="71549" y="0"/>
                </a:lnTo>
                <a:lnTo>
                  <a:pt x="71629" y="0"/>
                </a:lnTo>
                <a:lnTo>
                  <a:pt x="71991" y="0"/>
                </a:lnTo>
                <a:lnTo>
                  <a:pt x="72353" y="0"/>
                </a:lnTo>
                <a:lnTo>
                  <a:pt x="72754" y="0"/>
                </a:lnTo>
                <a:lnTo>
                  <a:pt x="72835" y="0"/>
                </a:lnTo>
                <a:lnTo>
                  <a:pt x="72916" y="0"/>
                </a:lnTo>
                <a:lnTo>
                  <a:pt x="72996" y="0"/>
                </a:lnTo>
                <a:lnTo>
                  <a:pt x="73076" y="0"/>
                </a:lnTo>
                <a:lnTo>
                  <a:pt x="73197" y="0"/>
                </a:lnTo>
                <a:lnTo>
                  <a:pt x="73276" y="40"/>
                </a:lnTo>
                <a:lnTo>
                  <a:pt x="73398" y="40"/>
                </a:lnTo>
                <a:lnTo>
                  <a:pt x="73478" y="80"/>
                </a:lnTo>
                <a:lnTo>
                  <a:pt x="73599" y="80"/>
                </a:lnTo>
                <a:lnTo>
                  <a:pt x="73679" y="80"/>
                </a:lnTo>
                <a:lnTo>
                  <a:pt x="73760" y="80"/>
                </a:lnTo>
                <a:lnTo>
                  <a:pt x="73799" y="120"/>
                </a:lnTo>
                <a:lnTo>
                  <a:pt x="73920" y="120"/>
                </a:lnTo>
                <a:lnTo>
                  <a:pt x="74041" y="160"/>
                </a:lnTo>
                <a:lnTo>
                  <a:pt x="74161" y="160"/>
                </a:lnTo>
                <a:lnTo>
                  <a:pt x="74242" y="160"/>
                </a:lnTo>
                <a:lnTo>
                  <a:pt x="74282" y="200"/>
                </a:lnTo>
                <a:lnTo>
                  <a:pt x="74362" y="200"/>
                </a:lnTo>
                <a:lnTo>
                  <a:pt x="74483" y="240"/>
                </a:lnTo>
                <a:lnTo>
                  <a:pt x="74604" y="240"/>
                </a:lnTo>
                <a:lnTo>
                  <a:pt x="74724" y="281"/>
                </a:lnTo>
                <a:lnTo>
                  <a:pt x="74764" y="281"/>
                </a:lnTo>
                <a:lnTo>
                  <a:pt x="74845" y="321"/>
                </a:lnTo>
                <a:lnTo>
                  <a:pt x="74885" y="321"/>
                </a:lnTo>
                <a:lnTo>
                  <a:pt x="75006" y="361"/>
                </a:lnTo>
                <a:lnTo>
                  <a:pt x="75125" y="361"/>
                </a:lnTo>
                <a:lnTo>
                  <a:pt x="75207" y="402"/>
                </a:lnTo>
                <a:lnTo>
                  <a:pt x="75287" y="402"/>
                </a:lnTo>
                <a:lnTo>
                  <a:pt x="75327" y="442"/>
                </a:lnTo>
                <a:lnTo>
                  <a:pt x="75409" y="442"/>
                </a:lnTo>
                <a:lnTo>
                  <a:pt x="75528" y="481"/>
                </a:lnTo>
                <a:lnTo>
                  <a:pt x="75609" y="522"/>
                </a:lnTo>
                <a:lnTo>
                  <a:pt x="75729" y="562"/>
                </a:lnTo>
                <a:lnTo>
                  <a:pt x="75809" y="602"/>
                </a:lnTo>
                <a:lnTo>
                  <a:pt x="75890" y="602"/>
                </a:lnTo>
                <a:lnTo>
                  <a:pt x="75929" y="643"/>
                </a:lnTo>
                <a:lnTo>
                  <a:pt x="76010" y="683"/>
                </a:lnTo>
                <a:lnTo>
                  <a:pt x="76131" y="723"/>
                </a:lnTo>
                <a:lnTo>
                  <a:pt x="76211" y="762"/>
                </a:lnTo>
                <a:lnTo>
                  <a:pt x="76291" y="804"/>
                </a:lnTo>
                <a:lnTo>
                  <a:pt x="76372" y="843"/>
                </a:lnTo>
                <a:lnTo>
                  <a:pt x="76453" y="843"/>
                </a:lnTo>
                <a:lnTo>
                  <a:pt x="76533" y="884"/>
                </a:lnTo>
                <a:lnTo>
                  <a:pt x="76613" y="924"/>
                </a:lnTo>
                <a:lnTo>
                  <a:pt x="76694" y="964"/>
                </a:lnTo>
                <a:lnTo>
                  <a:pt x="76774" y="1004"/>
                </a:lnTo>
                <a:lnTo>
                  <a:pt x="76895" y="1045"/>
                </a:lnTo>
                <a:lnTo>
                  <a:pt x="76974" y="1085"/>
                </a:lnTo>
                <a:lnTo>
                  <a:pt x="77056" y="1124"/>
                </a:lnTo>
                <a:lnTo>
                  <a:pt x="77096" y="1165"/>
                </a:lnTo>
                <a:lnTo>
                  <a:pt x="77176" y="1165"/>
                </a:lnTo>
                <a:lnTo>
                  <a:pt x="77256" y="1205"/>
                </a:lnTo>
                <a:lnTo>
                  <a:pt x="77377" y="1246"/>
                </a:lnTo>
                <a:lnTo>
                  <a:pt x="77458" y="1326"/>
                </a:lnTo>
                <a:lnTo>
                  <a:pt x="77498" y="1366"/>
                </a:lnTo>
                <a:lnTo>
                  <a:pt x="77578" y="1406"/>
                </a:lnTo>
                <a:lnTo>
                  <a:pt x="77618" y="1406"/>
                </a:lnTo>
                <a:lnTo>
                  <a:pt x="77739" y="1447"/>
                </a:lnTo>
                <a:lnTo>
                  <a:pt x="77819" y="1527"/>
                </a:lnTo>
                <a:lnTo>
                  <a:pt x="77940" y="1567"/>
                </a:lnTo>
                <a:lnTo>
                  <a:pt x="77980" y="1607"/>
                </a:lnTo>
                <a:lnTo>
                  <a:pt x="78060" y="1647"/>
                </a:lnTo>
                <a:lnTo>
                  <a:pt x="78101" y="1647"/>
                </a:lnTo>
                <a:lnTo>
                  <a:pt x="78222" y="1728"/>
                </a:lnTo>
                <a:lnTo>
                  <a:pt x="78302" y="1768"/>
                </a:lnTo>
                <a:lnTo>
                  <a:pt x="78422" y="1849"/>
                </a:lnTo>
                <a:lnTo>
                  <a:pt x="78462" y="1889"/>
                </a:lnTo>
                <a:lnTo>
                  <a:pt x="78543" y="1929"/>
                </a:lnTo>
                <a:lnTo>
                  <a:pt x="78584" y="1969"/>
                </a:lnTo>
                <a:lnTo>
                  <a:pt x="78664" y="2050"/>
                </a:lnTo>
                <a:lnTo>
                  <a:pt x="78784" y="2090"/>
                </a:lnTo>
                <a:lnTo>
                  <a:pt x="78864" y="2171"/>
                </a:lnTo>
                <a:lnTo>
                  <a:pt x="78905" y="2210"/>
                </a:lnTo>
                <a:lnTo>
                  <a:pt x="78985" y="2250"/>
                </a:lnTo>
                <a:lnTo>
                  <a:pt x="79025" y="2291"/>
                </a:lnTo>
                <a:lnTo>
                  <a:pt x="79106" y="2371"/>
                </a:lnTo>
                <a:lnTo>
                  <a:pt x="79185" y="2411"/>
                </a:lnTo>
                <a:lnTo>
                  <a:pt x="79266" y="2492"/>
                </a:lnTo>
                <a:lnTo>
                  <a:pt x="79347" y="2572"/>
                </a:lnTo>
                <a:lnTo>
                  <a:pt x="79427" y="2612"/>
                </a:lnTo>
                <a:lnTo>
                  <a:pt x="79508" y="2693"/>
                </a:lnTo>
                <a:lnTo>
                  <a:pt x="79588" y="2733"/>
                </a:lnTo>
                <a:lnTo>
                  <a:pt x="79628" y="2814"/>
                </a:lnTo>
                <a:lnTo>
                  <a:pt x="79709" y="2853"/>
                </a:lnTo>
                <a:lnTo>
                  <a:pt x="79828" y="2973"/>
                </a:lnTo>
                <a:lnTo>
                  <a:pt x="79990" y="3095"/>
                </a:lnTo>
                <a:lnTo>
                  <a:pt x="80111" y="3255"/>
                </a:lnTo>
                <a:lnTo>
                  <a:pt x="140002" y="63107"/>
                </a:lnTo>
                <a:lnTo>
                  <a:pt x="144464" y="67488"/>
                </a:lnTo>
                <a:lnTo>
                  <a:pt x="144464" y="74603"/>
                </a:lnTo>
                <a:lnTo>
                  <a:pt x="140083" y="78984"/>
                </a:lnTo>
              </a:path>
            </a:pathLst>
          </a:custGeom>
          <a:solidFill>
            <a:schemeClr val="bg2"/>
          </a:solidFill>
          <a:ln w="6350" cap="sq" cmpd="sng" algn="ctr">
            <a:noFill/>
            <a:prstDash val="solid"/>
            <a:miter lim="800000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grpSp>
        <p:nvGrpSpPr>
          <p:cNvPr id="209" name="StatusGaugeWhite" hidden="1">
            <a:extLst>
              <a:ext uri="{FF2B5EF4-FFF2-40B4-BE49-F238E27FC236}">
                <a16:creationId xmlns:a16="http://schemas.microsoft.com/office/drawing/2014/main" id="{83E25861-0B81-4167-B078-E26800352310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12265377" y="2463800"/>
            <a:ext cx="528304" cy="528304"/>
            <a:chOff x="1016000" y="1016000"/>
            <a:chExt cx="396228" cy="396228"/>
          </a:xfrm>
        </p:grpSpPr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3E4AC4B4-DBE7-4F00-A928-D22E37076FC3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7717B80C-3B4C-4FB5-AD12-307371BA59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40780" y="1098880"/>
              <a:ext cx="144516" cy="231528"/>
            </a:xfrm>
            <a:custGeom>
              <a:avLst/>
              <a:gdLst/>
              <a:ahLst/>
              <a:cxnLst/>
              <a:rect l="0" t="0" r="0" b="0"/>
              <a:pathLst>
                <a:path w="144465" h="231447">
                  <a:moveTo>
                    <a:pt x="124165" y="78984"/>
                  </a:moveTo>
                  <a:lnTo>
                    <a:pt x="83487" y="38345"/>
                  </a:lnTo>
                  <a:lnTo>
                    <a:pt x="83487" y="220192"/>
                  </a:lnTo>
                  <a:lnTo>
                    <a:pt x="83487" y="226424"/>
                  </a:lnTo>
                  <a:lnTo>
                    <a:pt x="78462" y="231446"/>
                  </a:lnTo>
                  <a:lnTo>
                    <a:pt x="72232" y="231446"/>
                  </a:lnTo>
                  <a:lnTo>
                    <a:pt x="66002" y="231446"/>
                  </a:lnTo>
                  <a:lnTo>
                    <a:pt x="60976" y="226424"/>
                  </a:lnTo>
                  <a:lnTo>
                    <a:pt x="60976" y="220192"/>
                  </a:lnTo>
                  <a:lnTo>
                    <a:pt x="60976" y="38345"/>
                  </a:lnTo>
                  <a:lnTo>
                    <a:pt x="20300" y="79025"/>
                  </a:lnTo>
                  <a:lnTo>
                    <a:pt x="15918" y="83406"/>
                  </a:lnTo>
                  <a:lnTo>
                    <a:pt x="8763" y="83406"/>
                  </a:lnTo>
                  <a:lnTo>
                    <a:pt x="4381" y="79025"/>
                  </a:lnTo>
                  <a:lnTo>
                    <a:pt x="0" y="74643"/>
                  </a:lnTo>
                  <a:lnTo>
                    <a:pt x="0" y="67488"/>
                  </a:lnTo>
                  <a:lnTo>
                    <a:pt x="4381" y="63107"/>
                  </a:lnTo>
                  <a:lnTo>
                    <a:pt x="64273" y="3255"/>
                  </a:lnTo>
                  <a:lnTo>
                    <a:pt x="64394" y="3135"/>
                  </a:lnTo>
                  <a:lnTo>
                    <a:pt x="64555" y="3014"/>
                  </a:lnTo>
                  <a:lnTo>
                    <a:pt x="64675" y="2853"/>
                  </a:lnTo>
                  <a:lnTo>
                    <a:pt x="64756" y="2814"/>
                  </a:lnTo>
                  <a:lnTo>
                    <a:pt x="64796" y="2733"/>
                  </a:lnTo>
                  <a:lnTo>
                    <a:pt x="64875" y="2693"/>
                  </a:lnTo>
                  <a:lnTo>
                    <a:pt x="64956" y="2612"/>
                  </a:lnTo>
                  <a:lnTo>
                    <a:pt x="65037" y="2572"/>
                  </a:lnTo>
                  <a:lnTo>
                    <a:pt x="65117" y="2492"/>
                  </a:lnTo>
                  <a:lnTo>
                    <a:pt x="65198" y="2411"/>
                  </a:lnTo>
                  <a:lnTo>
                    <a:pt x="65278" y="2371"/>
                  </a:lnTo>
                  <a:lnTo>
                    <a:pt x="65359" y="2291"/>
                  </a:lnTo>
                  <a:lnTo>
                    <a:pt x="65398" y="2250"/>
                  </a:lnTo>
                  <a:lnTo>
                    <a:pt x="65479" y="2210"/>
                  </a:lnTo>
                  <a:lnTo>
                    <a:pt x="65519" y="2171"/>
                  </a:lnTo>
                  <a:lnTo>
                    <a:pt x="65600" y="2090"/>
                  </a:lnTo>
                  <a:lnTo>
                    <a:pt x="65720" y="2050"/>
                  </a:lnTo>
                  <a:lnTo>
                    <a:pt x="65801" y="1969"/>
                  </a:lnTo>
                  <a:lnTo>
                    <a:pt x="65841" y="1929"/>
                  </a:lnTo>
                  <a:lnTo>
                    <a:pt x="65922" y="1889"/>
                  </a:lnTo>
                  <a:lnTo>
                    <a:pt x="65962" y="1849"/>
                  </a:lnTo>
                  <a:lnTo>
                    <a:pt x="66082" y="1768"/>
                  </a:lnTo>
                  <a:lnTo>
                    <a:pt x="66163" y="1728"/>
                  </a:lnTo>
                  <a:lnTo>
                    <a:pt x="66284" y="1647"/>
                  </a:lnTo>
                  <a:lnTo>
                    <a:pt x="66323" y="1607"/>
                  </a:lnTo>
                  <a:lnTo>
                    <a:pt x="66404" y="1567"/>
                  </a:lnTo>
                  <a:lnTo>
                    <a:pt x="66444" y="1567"/>
                  </a:lnTo>
                  <a:lnTo>
                    <a:pt x="66565" y="1488"/>
                  </a:lnTo>
                  <a:lnTo>
                    <a:pt x="66646" y="1447"/>
                  </a:lnTo>
                  <a:lnTo>
                    <a:pt x="66766" y="1406"/>
                  </a:lnTo>
                  <a:lnTo>
                    <a:pt x="66806" y="1366"/>
                  </a:lnTo>
                  <a:lnTo>
                    <a:pt x="66886" y="1326"/>
                  </a:lnTo>
                  <a:lnTo>
                    <a:pt x="66926" y="1326"/>
                  </a:lnTo>
                  <a:lnTo>
                    <a:pt x="67008" y="1286"/>
                  </a:lnTo>
                  <a:lnTo>
                    <a:pt x="67127" y="1205"/>
                  </a:lnTo>
                  <a:lnTo>
                    <a:pt x="67208" y="1165"/>
                  </a:lnTo>
                  <a:lnTo>
                    <a:pt x="67288" y="1124"/>
                  </a:lnTo>
                  <a:lnTo>
                    <a:pt x="67328" y="1085"/>
                  </a:lnTo>
                  <a:lnTo>
                    <a:pt x="67409" y="1085"/>
                  </a:lnTo>
                  <a:lnTo>
                    <a:pt x="67489" y="1045"/>
                  </a:lnTo>
                  <a:lnTo>
                    <a:pt x="67611" y="1004"/>
                  </a:lnTo>
                  <a:lnTo>
                    <a:pt x="67690" y="964"/>
                  </a:lnTo>
                  <a:lnTo>
                    <a:pt x="67769" y="924"/>
                  </a:lnTo>
                  <a:lnTo>
                    <a:pt x="67851" y="884"/>
                  </a:lnTo>
                  <a:lnTo>
                    <a:pt x="67931" y="843"/>
                  </a:lnTo>
                  <a:lnTo>
                    <a:pt x="68012" y="804"/>
                  </a:lnTo>
                  <a:lnTo>
                    <a:pt x="68092" y="762"/>
                  </a:lnTo>
                  <a:lnTo>
                    <a:pt x="68172" y="762"/>
                  </a:lnTo>
                  <a:lnTo>
                    <a:pt x="68254" y="723"/>
                  </a:lnTo>
                  <a:lnTo>
                    <a:pt x="68373" y="683"/>
                  </a:lnTo>
                  <a:lnTo>
                    <a:pt x="68454" y="643"/>
                  </a:lnTo>
                  <a:lnTo>
                    <a:pt x="68534" y="602"/>
                  </a:lnTo>
                  <a:lnTo>
                    <a:pt x="68616" y="602"/>
                  </a:lnTo>
                  <a:lnTo>
                    <a:pt x="68655" y="562"/>
                  </a:lnTo>
                  <a:lnTo>
                    <a:pt x="68775" y="522"/>
                  </a:lnTo>
                  <a:lnTo>
                    <a:pt x="68855" y="481"/>
                  </a:lnTo>
                  <a:lnTo>
                    <a:pt x="68976" y="442"/>
                  </a:lnTo>
                  <a:lnTo>
                    <a:pt x="69057" y="442"/>
                  </a:lnTo>
                  <a:lnTo>
                    <a:pt x="69097" y="402"/>
                  </a:lnTo>
                  <a:lnTo>
                    <a:pt x="69177" y="402"/>
                  </a:lnTo>
                  <a:lnTo>
                    <a:pt x="69298" y="361"/>
                  </a:lnTo>
                  <a:lnTo>
                    <a:pt x="69418" y="321"/>
                  </a:lnTo>
                  <a:lnTo>
                    <a:pt x="69499" y="321"/>
                  </a:lnTo>
                  <a:lnTo>
                    <a:pt x="69539" y="321"/>
                  </a:lnTo>
                  <a:lnTo>
                    <a:pt x="69619" y="281"/>
                  </a:lnTo>
                  <a:lnTo>
                    <a:pt x="69660" y="281"/>
                  </a:lnTo>
                  <a:lnTo>
                    <a:pt x="69780" y="240"/>
                  </a:lnTo>
                  <a:lnTo>
                    <a:pt x="69901" y="240"/>
                  </a:lnTo>
                  <a:lnTo>
                    <a:pt x="70021" y="200"/>
                  </a:lnTo>
                  <a:lnTo>
                    <a:pt x="70101" y="200"/>
                  </a:lnTo>
                  <a:lnTo>
                    <a:pt x="70142" y="160"/>
                  </a:lnTo>
                  <a:lnTo>
                    <a:pt x="70222" y="160"/>
                  </a:lnTo>
                  <a:lnTo>
                    <a:pt x="70343" y="120"/>
                  </a:lnTo>
                  <a:lnTo>
                    <a:pt x="70463" y="120"/>
                  </a:lnTo>
                  <a:lnTo>
                    <a:pt x="70584" y="120"/>
                  </a:lnTo>
                  <a:lnTo>
                    <a:pt x="70665" y="120"/>
                  </a:lnTo>
                  <a:lnTo>
                    <a:pt x="70745" y="120"/>
                  </a:lnTo>
                  <a:lnTo>
                    <a:pt x="70786" y="80"/>
                  </a:lnTo>
                  <a:lnTo>
                    <a:pt x="70906" y="80"/>
                  </a:lnTo>
                  <a:lnTo>
                    <a:pt x="70986" y="40"/>
                  </a:lnTo>
                  <a:lnTo>
                    <a:pt x="71107" y="40"/>
                  </a:lnTo>
                  <a:lnTo>
                    <a:pt x="71187" y="40"/>
                  </a:lnTo>
                  <a:lnTo>
                    <a:pt x="71308" y="40"/>
                  </a:lnTo>
                  <a:lnTo>
                    <a:pt x="71388" y="0"/>
                  </a:lnTo>
                  <a:lnTo>
                    <a:pt x="71468" y="0"/>
                  </a:lnTo>
                  <a:lnTo>
                    <a:pt x="71549" y="0"/>
                  </a:lnTo>
                  <a:lnTo>
                    <a:pt x="71629" y="0"/>
                  </a:lnTo>
                  <a:lnTo>
                    <a:pt x="71991" y="0"/>
                  </a:lnTo>
                  <a:lnTo>
                    <a:pt x="72353" y="0"/>
                  </a:lnTo>
                  <a:lnTo>
                    <a:pt x="72754" y="0"/>
                  </a:lnTo>
                  <a:lnTo>
                    <a:pt x="72835" y="0"/>
                  </a:lnTo>
                  <a:lnTo>
                    <a:pt x="72916" y="0"/>
                  </a:lnTo>
                  <a:lnTo>
                    <a:pt x="72996" y="0"/>
                  </a:lnTo>
                  <a:lnTo>
                    <a:pt x="73076" y="0"/>
                  </a:lnTo>
                  <a:lnTo>
                    <a:pt x="73197" y="0"/>
                  </a:lnTo>
                  <a:lnTo>
                    <a:pt x="73276" y="40"/>
                  </a:lnTo>
                  <a:lnTo>
                    <a:pt x="73398" y="40"/>
                  </a:lnTo>
                  <a:lnTo>
                    <a:pt x="73478" y="80"/>
                  </a:lnTo>
                  <a:lnTo>
                    <a:pt x="73599" y="80"/>
                  </a:lnTo>
                  <a:lnTo>
                    <a:pt x="73679" y="80"/>
                  </a:lnTo>
                  <a:lnTo>
                    <a:pt x="73760" y="80"/>
                  </a:lnTo>
                  <a:lnTo>
                    <a:pt x="73799" y="120"/>
                  </a:lnTo>
                  <a:lnTo>
                    <a:pt x="73920" y="120"/>
                  </a:lnTo>
                  <a:lnTo>
                    <a:pt x="74041" y="160"/>
                  </a:lnTo>
                  <a:lnTo>
                    <a:pt x="74161" y="160"/>
                  </a:lnTo>
                  <a:lnTo>
                    <a:pt x="74242" y="160"/>
                  </a:lnTo>
                  <a:lnTo>
                    <a:pt x="74282" y="200"/>
                  </a:lnTo>
                  <a:lnTo>
                    <a:pt x="74362" y="200"/>
                  </a:lnTo>
                  <a:lnTo>
                    <a:pt x="74483" y="240"/>
                  </a:lnTo>
                  <a:lnTo>
                    <a:pt x="74604" y="240"/>
                  </a:lnTo>
                  <a:lnTo>
                    <a:pt x="74724" y="281"/>
                  </a:lnTo>
                  <a:lnTo>
                    <a:pt x="74764" y="281"/>
                  </a:lnTo>
                  <a:lnTo>
                    <a:pt x="74845" y="321"/>
                  </a:lnTo>
                  <a:lnTo>
                    <a:pt x="74885" y="321"/>
                  </a:lnTo>
                  <a:lnTo>
                    <a:pt x="75006" y="361"/>
                  </a:lnTo>
                  <a:lnTo>
                    <a:pt x="75125" y="361"/>
                  </a:lnTo>
                  <a:lnTo>
                    <a:pt x="75207" y="402"/>
                  </a:lnTo>
                  <a:lnTo>
                    <a:pt x="75287" y="402"/>
                  </a:lnTo>
                  <a:lnTo>
                    <a:pt x="75327" y="442"/>
                  </a:lnTo>
                  <a:lnTo>
                    <a:pt x="75409" y="442"/>
                  </a:lnTo>
                  <a:lnTo>
                    <a:pt x="75528" y="481"/>
                  </a:lnTo>
                  <a:lnTo>
                    <a:pt x="75609" y="522"/>
                  </a:lnTo>
                  <a:lnTo>
                    <a:pt x="75729" y="562"/>
                  </a:lnTo>
                  <a:lnTo>
                    <a:pt x="75809" y="602"/>
                  </a:lnTo>
                  <a:lnTo>
                    <a:pt x="75890" y="602"/>
                  </a:lnTo>
                  <a:lnTo>
                    <a:pt x="75929" y="643"/>
                  </a:lnTo>
                  <a:lnTo>
                    <a:pt x="76010" y="683"/>
                  </a:lnTo>
                  <a:lnTo>
                    <a:pt x="76131" y="723"/>
                  </a:lnTo>
                  <a:lnTo>
                    <a:pt x="76211" y="762"/>
                  </a:lnTo>
                  <a:lnTo>
                    <a:pt x="76291" y="804"/>
                  </a:lnTo>
                  <a:lnTo>
                    <a:pt x="76372" y="843"/>
                  </a:lnTo>
                  <a:lnTo>
                    <a:pt x="76453" y="843"/>
                  </a:lnTo>
                  <a:lnTo>
                    <a:pt x="76533" y="884"/>
                  </a:lnTo>
                  <a:lnTo>
                    <a:pt x="76613" y="924"/>
                  </a:lnTo>
                  <a:lnTo>
                    <a:pt x="76694" y="964"/>
                  </a:lnTo>
                  <a:lnTo>
                    <a:pt x="76774" y="1004"/>
                  </a:lnTo>
                  <a:lnTo>
                    <a:pt x="76895" y="1045"/>
                  </a:lnTo>
                  <a:lnTo>
                    <a:pt x="76974" y="1085"/>
                  </a:lnTo>
                  <a:lnTo>
                    <a:pt x="77056" y="1124"/>
                  </a:lnTo>
                  <a:lnTo>
                    <a:pt x="77096" y="1165"/>
                  </a:lnTo>
                  <a:lnTo>
                    <a:pt x="77176" y="1165"/>
                  </a:lnTo>
                  <a:lnTo>
                    <a:pt x="77256" y="1205"/>
                  </a:lnTo>
                  <a:lnTo>
                    <a:pt x="77377" y="1246"/>
                  </a:lnTo>
                  <a:lnTo>
                    <a:pt x="77458" y="1326"/>
                  </a:lnTo>
                  <a:lnTo>
                    <a:pt x="77498" y="1366"/>
                  </a:lnTo>
                  <a:lnTo>
                    <a:pt x="77578" y="1406"/>
                  </a:lnTo>
                  <a:lnTo>
                    <a:pt x="77618" y="1406"/>
                  </a:lnTo>
                  <a:lnTo>
                    <a:pt x="77739" y="1447"/>
                  </a:lnTo>
                  <a:lnTo>
                    <a:pt x="77819" y="1527"/>
                  </a:lnTo>
                  <a:lnTo>
                    <a:pt x="77940" y="1567"/>
                  </a:lnTo>
                  <a:lnTo>
                    <a:pt x="77980" y="1607"/>
                  </a:lnTo>
                  <a:lnTo>
                    <a:pt x="78060" y="1647"/>
                  </a:lnTo>
                  <a:lnTo>
                    <a:pt x="78101" y="1647"/>
                  </a:lnTo>
                  <a:lnTo>
                    <a:pt x="78222" y="1728"/>
                  </a:lnTo>
                  <a:lnTo>
                    <a:pt x="78302" y="1768"/>
                  </a:lnTo>
                  <a:lnTo>
                    <a:pt x="78422" y="1849"/>
                  </a:lnTo>
                  <a:lnTo>
                    <a:pt x="78462" y="1889"/>
                  </a:lnTo>
                  <a:lnTo>
                    <a:pt x="78543" y="1929"/>
                  </a:lnTo>
                  <a:lnTo>
                    <a:pt x="78584" y="1969"/>
                  </a:lnTo>
                  <a:lnTo>
                    <a:pt x="78664" y="2050"/>
                  </a:lnTo>
                  <a:lnTo>
                    <a:pt x="78784" y="2090"/>
                  </a:lnTo>
                  <a:lnTo>
                    <a:pt x="78864" y="2171"/>
                  </a:lnTo>
                  <a:lnTo>
                    <a:pt x="78905" y="2210"/>
                  </a:lnTo>
                  <a:lnTo>
                    <a:pt x="78985" y="2250"/>
                  </a:lnTo>
                  <a:lnTo>
                    <a:pt x="79025" y="2291"/>
                  </a:lnTo>
                  <a:lnTo>
                    <a:pt x="79106" y="2371"/>
                  </a:lnTo>
                  <a:lnTo>
                    <a:pt x="79185" y="2411"/>
                  </a:lnTo>
                  <a:lnTo>
                    <a:pt x="79266" y="2492"/>
                  </a:lnTo>
                  <a:lnTo>
                    <a:pt x="79347" y="2572"/>
                  </a:lnTo>
                  <a:lnTo>
                    <a:pt x="79427" y="2612"/>
                  </a:lnTo>
                  <a:lnTo>
                    <a:pt x="79508" y="2693"/>
                  </a:lnTo>
                  <a:lnTo>
                    <a:pt x="79588" y="2733"/>
                  </a:lnTo>
                  <a:lnTo>
                    <a:pt x="79628" y="2814"/>
                  </a:lnTo>
                  <a:lnTo>
                    <a:pt x="79709" y="2853"/>
                  </a:lnTo>
                  <a:lnTo>
                    <a:pt x="79828" y="2973"/>
                  </a:lnTo>
                  <a:lnTo>
                    <a:pt x="79990" y="3095"/>
                  </a:lnTo>
                  <a:lnTo>
                    <a:pt x="80111" y="3255"/>
                  </a:lnTo>
                  <a:lnTo>
                    <a:pt x="140002" y="63107"/>
                  </a:lnTo>
                  <a:lnTo>
                    <a:pt x="144464" y="67488"/>
                  </a:lnTo>
                  <a:lnTo>
                    <a:pt x="144464" y="74603"/>
                  </a:lnTo>
                  <a:lnTo>
                    <a:pt x="140083" y="78984"/>
                  </a:lnTo>
                </a:path>
              </a:pathLst>
            </a:custGeom>
            <a:solidFill>
              <a:schemeClr val="bg2"/>
            </a:solidFill>
            <a:ln w="6350" cap="sq" cmpd="sng" algn="ctr">
              <a:noFill/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sp>
        <p:nvSpPr>
          <p:cNvPr id="212" name="Checkmark" hidden="1">
            <a:extLst>
              <a:ext uri="{FF2B5EF4-FFF2-40B4-BE49-F238E27FC236}">
                <a16:creationId xmlns:a16="http://schemas.microsoft.com/office/drawing/2014/main" id="{462D8056-F063-4E30-937B-9B2837FEE374}"/>
              </a:ext>
            </a:extLst>
          </p:cNvPr>
          <p:cNvSpPr>
            <a:spLocks noChangeAspect="1"/>
          </p:cNvSpPr>
          <p:nvPr userDrawn="1">
            <p:custDataLst>
              <p:tags r:id="rId27"/>
            </p:custDataLst>
          </p:nvPr>
        </p:nvSpPr>
        <p:spPr>
          <a:xfrm>
            <a:off x="12265378" y="3403601"/>
            <a:ext cx="234653" cy="243657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2133" dirty="0">
              <a:solidFill>
                <a:schemeClr val="bg1"/>
              </a:solidFill>
            </a:endParaRPr>
          </a:p>
        </p:txBody>
      </p:sp>
      <p:grpSp>
        <p:nvGrpSpPr>
          <p:cNvPr id="213" name="CheckmarkWhite" hidden="1">
            <a:extLst>
              <a:ext uri="{FF2B5EF4-FFF2-40B4-BE49-F238E27FC236}">
                <a16:creationId xmlns:a16="http://schemas.microsoft.com/office/drawing/2014/main" id="{84505D79-D3F0-4CFA-9E8B-A481018285D3}"/>
              </a:ext>
            </a:extLst>
          </p:cNvPr>
          <p:cNvGrpSpPr>
            <a:grpSpLocks noChangeAspect="1"/>
          </p:cNvGrpSpPr>
          <p:nvPr userDrawn="1">
            <p:custDataLst>
              <p:tags r:id="rId28"/>
            </p:custDataLst>
          </p:nvPr>
        </p:nvGrpSpPr>
        <p:grpSpPr>
          <a:xfrm>
            <a:off x="12265377" y="3750733"/>
            <a:ext cx="528304" cy="528304"/>
            <a:chOff x="1016000" y="1016000"/>
            <a:chExt cx="396228" cy="396228"/>
          </a:xfrm>
        </p:grpSpPr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1F15896A-CC57-49E0-B4C2-9217120E6CF2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3CFBA8B3-E43C-4415-B984-7DD26D5AF7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2776" y="1123650"/>
              <a:ext cx="175990" cy="182743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bg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</p:grpSp>
      <p:sp>
        <p:nvSpPr>
          <p:cNvPr id="216" name="CheckmarkDash" hidden="1">
            <a:extLst>
              <a:ext uri="{FF2B5EF4-FFF2-40B4-BE49-F238E27FC236}">
                <a16:creationId xmlns:a16="http://schemas.microsoft.com/office/drawing/2014/main" id="{7A15DB09-D0BA-4D92-B7DE-959B20FE3253}"/>
              </a:ext>
            </a:extLst>
          </p:cNvPr>
          <p:cNvSpPr>
            <a:spLocks noChangeAspect="1"/>
          </p:cNvSpPr>
          <p:nvPr userDrawn="1">
            <p:custDataLst>
              <p:tags r:id="rId29"/>
            </p:custDataLst>
          </p:nvPr>
        </p:nvSpPr>
        <p:spPr>
          <a:xfrm>
            <a:off x="12265377" y="4609027"/>
            <a:ext cx="133531" cy="352652"/>
          </a:xfrm>
          <a:custGeom>
            <a:avLst/>
            <a:gdLst/>
            <a:ahLst/>
            <a:cxnLst/>
            <a:rect l="0" t="0" r="0" b="0"/>
            <a:pathLst>
              <a:path w="100209" h="264650">
                <a:moveTo>
                  <a:pt x="50808" y="192298"/>
                </a:moveTo>
                <a:lnTo>
                  <a:pt x="48235" y="192298"/>
                </a:lnTo>
                <a:lnTo>
                  <a:pt x="46185" y="190247"/>
                </a:lnTo>
                <a:lnTo>
                  <a:pt x="46185" y="187673"/>
                </a:lnTo>
                <a:lnTo>
                  <a:pt x="46185" y="168582"/>
                </a:lnTo>
                <a:lnTo>
                  <a:pt x="46185" y="154191"/>
                </a:lnTo>
                <a:lnTo>
                  <a:pt x="46466" y="142253"/>
                </a:lnTo>
                <a:lnTo>
                  <a:pt x="49803" y="130154"/>
                </a:lnTo>
                <a:lnTo>
                  <a:pt x="53501" y="116809"/>
                </a:lnTo>
                <a:lnTo>
                  <a:pt x="60615" y="104951"/>
                </a:lnTo>
                <a:lnTo>
                  <a:pt x="72231" y="92812"/>
                </a:lnTo>
                <a:lnTo>
                  <a:pt x="89596" y="74684"/>
                </a:lnTo>
                <a:lnTo>
                  <a:pt x="90923" y="65680"/>
                </a:lnTo>
                <a:lnTo>
                  <a:pt x="90923" y="54988"/>
                </a:lnTo>
                <a:lnTo>
                  <a:pt x="90923" y="29744"/>
                </a:lnTo>
                <a:lnTo>
                  <a:pt x="71065" y="9245"/>
                </a:lnTo>
                <a:lnTo>
                  <a:pt x="46666" y="9245"/>
                </a:lnTo>
                <a:lnTo>
                  <a:pt x="31353" y="9245"/>
                </a:lnTo>
                <a:lnTo>
                  <a:pt x="17364" y="17245"/>
                </a:lnTo>
                <a:lnTo>
                  <a:pt x="9206" y="30669"/>
                </a:lnTo>
                <a:lnTo>
                  <a:pt x="7878" y="32840"/>
                </a:lnTo>
                <a:lnTo>
                  <a:pt x="5024" y="33523"/>
                </a:lnTo>
                <a:lnTo>
                  <a:pt x="2854" y="32196"/>
                </a:lnTo>
                <a:lnTo>
                  <a:pt x="682" y="30870"/>
                </a:lnTo>
                <a:lnTo>
                  <a:pt x="0" y="28015"/>
                </a:lnTo>
                <a:lnTo>
                  <a:pt x="1326" y="25846"/>
                </a:lnTo>
                <a:lnTo>
                  <a:pt x="11174" y="9647"/>
                </a:lnTo>
                <a:lnTo>
                  <a:pt x="28137" y="0"/>
                </a:lnTo>
                <a:lnTo>
                  <a:pt x="46709" y="0"/>
                </a:lnTo>
                <a:lnTo>
                  <a:pt x="76211" y="0"/>
                </a:lnTo>
                <a:lnTo>
                  <a:pt x="100208" y="24680"/>
                </a:lnTo>
                <a:lnTo>
                  <a:pt x="100208" y="54988"/>
                </a:lnTo>
                <a:lnTo>
                  <a:pt x="100208" y="69257"/>
                </a:lnTo>
                <a:lnTo>
                  <a:pt x="96831" y="80512"/>
                </a:lnTo>
                <a:lnTo>
                  <a:pt x="78945" y="99203"/>
                </a:lnTo>
                <a:lnTo>
                  <a:pt x="56595" y="122557"/>
                </a:lnTo>
                <a:lnTo>
                  <a:pt x="55429" y="140805"/>
                </a:lnTo>
                <a:lnTo>
                  <a:pt x="55429" y="168621"/>
                </a:lnTo>
                <a:lnTo>
                  <a:pt x="55429" y="187714"/>
                </a:lnTo>
                <a:lnTo>
                  <a:pt x="55429" y="190247"/>
                </a:lnTo>
                <a:lnTo>
                  <a:pt x="53340" y="192298"/>
                </a:lnTo>
                <a:lnTo>
                  <a:pt x="50808" y="192298"/>
                </a:lnTo>
                <a:lnTo>
                  <a:pt x="37745" y="244149"/>
                </a:lnTo>
                <a:lnTo>
                  <a:pt x="37745" y="259826"/>
                </a:lnTo>
                <a:lnTo>
                  <a:pt x="37745" y="262479"/>
                </a:lnTo>
                <a:lnTo>
                  <a:pt x="39914" y="264649"/>
                </a:lnTo>
                <a:lnTo>
                  <a:pt x="42567" y="264649"/>
                </a:lnTo>
                <a:lnTo>
                  <a:pt x="58245" y="264649"/>
                </a:lnTo>
                <a:lnTo>
                  <a:pt x="60897" y="264649"/>
                </a:lnTo>
                <a:lnTo>
                  <a:pt x="63067" y="262479"/>
                </a:lnTo>
                <a:lnTo>
                  <a:pt x="63067" y="259826"/>
                </a:lnTo>
                <a:lnTo>
                  <a:pt x="63067" y="244149"/>
                </a:lnTo>
                <a:lnTo>
                  <a:pt x="63067" y="241497"/>
                </a:lnTo>
                <a:lnTo>
                  <a:pt x="60897" y="239326"/>
                </a:lnTo>
                <a:lnTo>
                  <a:pt x="58245" y="239326"/>
                </a:lnTo>
                <a:lnTo>
                  <a:pt x="42567" y="239326"/>
                </a:lnTo>
                <a:lnTo>
                  <a:pt x="39914" y="239326"/>
                </a:lnTo>
                <a:lnTo>
                  <a:pt x="37745" y="241497"/>
                </a:lnTo>
                <a:lnTo>
                  <a:pt x="37745" y="244149"/>
                </a:lnTo>
              </a:path>
            </a:pathLst>
          </a:custGeom>
          <a:solidFill>
            <a:schemeClr val="bg2"/>
          </a:solidFill>
          <a:ln w="6350" cap="sq" cmpd="sng" algn="ctr">
            <a:noFill/>
            <a:prstDash val="solid"/>
            <a:miter lim="800000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17" name="X" hidden="1">
            <a:extLst>
              <a:ext uri="{FF2B5EF4-FFF2-40B4-BE49-F238E27FC236}">
                <a16:creationId xmlns:a16="http://schemas.microsoft.com/office/drawing/2014/main" id="{CA607A01-0812-4B87-B880-3382BABD012D}"/>
              </a:ext>
            </a:extLst>
          </p:cNvPr>
          <p:cNvSpPr>
            <a:spLocks noChangeAspect="1"/>
          </p:cNvSpPr>
          <p:nvPr userDrawn="1">
            <p:custDataLst>
              <p:tags r:id="rId30"/>
            </p:custDataLst>
          </p:nvPr>
        </p:nvSpPr>
        <p:spPr>
          <a:xfrm>
            <a:off x="12265378" y="5970693"/>
            <a:ext cx="245071" cy="244731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2133" dirty="0">
              <a:solidFill>
                <a:schemeClr val="bg1"/>
              </a:solidFill>
            </a:endParaRPr>
          </a:p>
        </p:txBody>
      </p:sp>
      <p:grpSp>
        <p:nvGrpSpPr>
          <p:cNvPr id="218" name="XWhite" hidden="1">
            <a:extLst>
              <a:ext uri="{FF2B5EF4-FFF2-40B4-BE49-F238E27FC236}">
                <a16:creationId xmlns:a16="http://schemas.microsoft.com/office/drawing/2014/main" id="{6886F03F-B214-45E1-84F4-675622432846}"/>
              </a:ext>
            </a:extLst>
          </p:cNvPr>
          <p:cNvGrpSpPr>
            <a:grpSpLocks noChangeAspect="1"/>
          </p:cNvGrpSpPr>
          <p:nvPr userDrawn="1">
            <p:custDataLst>
              <p:tags r:id="rId31"/>
            </p:custDataLst>
          </p:nvPr>
        </p:nvGrpSpPr>
        <p:grpSpPr>
          <a:xfrm>
            <a:off x="12265377" y="6478693"/>
            <a:ext cx="528304" cy="528304"/>
            <a:chOff x="1016000" y="1016000"/>
            <a:chExt cx="396228" cy="396228"/>
          </a:xfrm>
        </p:grpSpPr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F68927FA-3BD9-4592-8AAD-786EBAA941EF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5B6C6EB4-4FF9-42CA-A738-04125E173E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22638" y="1122553"/>
              <a:ext cx="183803" cy="183548"/>
            </a:xfrm>
            <a:custGeom>
              <a:avLst/>
              <a:gdLst/>
              <a:ahLst/>
              <a:cxnLst/>
              <a:rect l="0" t="0" r="0" b="0"/>
              <a:pathLst>
                <a:path w="183805" h="183550">
                  <a:moveTo>
                    <a:pt x="182094" y="175600"/>
                  </a:moveTo>
                  <a:lnTo>
                    <a:pt x="182094" y="175600"/>
                  </a:lnTo>
                  <a:lnTo>
                    <a:pt x="183804" y="177411"/>
                  </a:lnTo>
                  <a:lnTo>
                    <a:pt x="183804" y="180429"/>
                  </a:lnTo>
                  <a:lnTo>
                    <a:pt x="182094" y="182240"/>
                  </a:lnTo>
                  <a:lnTo>
                    <a:pt x="181189" y="183146"/>
                  </a:lnTo>
                  <a:lnTo>
                    <a:pt x="179982" y="183549"/>
                  </a:lnTo>
                  <a:lnTo>
                    <a:pt x="178776" y="183549"/>
                  </a:lnTo>
                  <a:lnTo>
                    <a:pt x="177569" y="183549"/>
                  </a:lnTo>
                  <a:lnTo>
                    <a:pt x="176362" y="183146"/>
                  </a:lnTo>
                  <a:lnTo>
                    <a:pt x="175457" y="182240"/>
                  </a:lnTo>
                  <a:lnTo>
                    <a:pt x="91903" y="98517"/>
                  </a:lnTo>
                  <a:lnTo>
                    <a:pt x="91903" y="98517"/>
                  </a:lnTo>
                  <a:lnTo>
                    <a:pt x="91903" y="98517"/>
                  </a:lnTo>
                  <a:lnTo>
                    <a:pt x="8345" y="182240"/>
                  </a:lnTo>
                  <a:lnTo>
                    <a:pt x="8345" y="182240"/>
                  </a:lnTo>
                  <a:lnTo>
                    <a:pt x="8345" y="182240"/>
                  </a:lnTo>
                  <a:lnTo>
                    <a:pt x="7441" y="183146"/>
                  </a:lnTo>
                  <a:lnTo>
                    <a:pt x="6235" y="183549"/>
                  </a:lnTo>
                  <a:lnTo>
                    <a:pt x="5027" y="183549"/>
                  </a:lnTo>
                  <a:lnTo>
                    <a:pt x="3822" y="183549"/>
                  </a:lnTo>
                  <a:lnTo>
                    <a:pt x="2614" y="183146"/>
                  </a:lnTo>
                  <a:lnTo>
                    <a:pt x="1708" y="182240"/>
                  </a:lnTo>
                  <a:lnTo>
                    <a:pt x="0" y="180429"/>
                  </a:lnTo>
                  <a:lnTo>
                    <a:pt x="0" y="177411"/>
                  </a:lnTo>
                  <a:lnTo>
                    <a:pt x="1708" y="175600"/>
                  </a:lnTo>
                  <a:lnTo>
                    <a:pt x="85366" y="91976"/>
                  </a:lnTo>
                  <a:lnTo>
                    <a:pt x="85366" y="91976"/>
                  </a:lnTo>
                  <a:lnTo>
                    <a:pt x="85366" y="91976"/>
                  </a:lnTo>
                  <a:lnTo>
                    <a:pt x="1708" y="8353"/>
                  </a:lnTo>
                  <a:lnTo>
                    <a:pt x="1708" y="8353"/>
                  </a:lnTo>
                  <a:lnTo>
                    <a:pt x="1708" y="8353"/>
                  </a:lnTo>
                  <a:lnTo>
                    <a:pt x="0" y="6542"/>
                  </a:lnTo>
                  <a:lnTo>
                    <a:pt x="0" y="3523"/>
                  </a:lnTo>
                  <a:lnTo>
                    <a:pt x="1708" y="1713"/>
                  </a:lnTo>
                  <a:lnTo>
                    <a:pt x="3520" y="0"/>
                  </a:lnTo>
                  <a:lnTo>
                    <a:pt x="6536" y="0"/>
                  </a:lnTo>
                  <a:lnTo>
                    <a:pt x="8345" y="1713"/>
                  </a:lnTo>
                  <a:lnTo>
                    <a:pt x="91903" y="85435"/>
                  </a:lnTo>
                  <a:lnTo>
                    <a:pt x="91903" y="85435"/>
                  </a:lnTo>
                  <a:lnTo>
                    <a:pt x="91903" y="85435"/>
                  </a:lnTo>
                  <a:lnTo>
                    <a:pt x="175457" y="1713"/>
                  </a:lnTo>
                  <a:lnTo>
                    <a:pt x="175457" y="1713"/>
                  </a:lnTo>
                  <a:lnTo>
                    <a:pt x="175457" y="1713"/>
                  </a:lnTo>
                  <a:lnTo>
                    <a:pt x="177267" y="0"/>
                  </a:lnTo>
                  <a:lnTo>
                    <a:pt x="180284" y="0"/>
                  </a:lnTo>
                  <a:lnTo>
                    <a:pt x="182094" y="1713"/>
                  </a:lnTo>
                  <a:lnTo>
                    <a:pt x="183804" y="3523"/>
                  </a:lnTo>
                  <a:lnTo>
                    <a:pt x="183804" y="6542"/>
                  </a:lnTo>
                  <a:lnTo>
                    <a:pt x="182094" y="8353"/>
                  </a:lnTo>
                  <a:lnTo>
                    <a:pt x="98437" y="91976"/>
                  </a:lnTo>
                  <a:lnTo>
                    <a:pt x="98437" y="91976"/>
                  </a:lnTo>
                  <a:lnTo>
                    <a:pt x="98437" y="91976"/>
                  </a:lnTo>
                  <a:close/>
                </a:path>
              </a:pathLst>
            </a:custGeom>
            <a:solidFill>
              <a:schemeClr val="bg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</p:grpSp>
      <p:sp>
        <p:nvSpPr>
          <p:cNvPr id="221" name="Chevron" hidden="1">
            <a:extLst>
              <a:ext uri="{FF2B5EF4-FFF2-40B4-BE49-F238E27FC236}">
                <a16:creationId xmlns:a16="http://schemas.microsoft.com/office/drawing/2014/main" id="{F5B696AA-0046-4D6C-A84D-DB9E7A36F60F}"/>
              </a:ext>
            </a:extLst>
          </p:cNvPr>
          <p:cNvSpPr>
            <a:spLocks noChangeAspect="1"/>
          </p:cNvSpPr>
          <p:nvPr userDrawn="1">
            <p:custDataLst>
              <p:tags r:id="rId32"/>
            </p:custDataLst>
          </p:nvPr>
        </p:nvSpPr>
        <p:spPr>
          <a:xfrm>
            <a:off x="12265378" y="7325360"/>
            <a:ext cx="168783" cy="318195"/>
          </a:xfrm>
          <a:custGeom>
            <a:avLst/>
            <a:gdLst/>
            <a:ahLst/>
            <a:cxnLst/>
            <a:rect l="0" t="0" r="0" b="0"/>
            <a:pathLst>
              <a:path w="103601" h="195312">
                <a:moveTo>
                  <a:pt x="9358" y="193790"/>
                </a:moveTo>
                <a:lnTo>
                  <a:pt x="101575" y="101574"/>
                </a:lnTo>
                <a:lnTo>
                  <a:pt x="103600" y="99549"/>
                </a:lnTo>
                <a:lnTo>
                  <a:pt x="103600" y="96266"/>
                </a:lnTo>
                <a:lnTo>
                  <a:pt x="101575" y="94241"/>
                </a:lnTo>
                <a:lnTo>
                  <a:pt x="9358" y="2025"/>
                </a:lnTo>
                <a:lnTo>
                  <a:pt x="7332" y="0"/>
                </a:lnTo>
                <a:lnTo>
                  <a:pt x="4049" y="0"/>
                </a:lnTo>
                <a:lnTo>
                  <a:pt x="2026" y="2025"/>
                </a:lnTo>
                <a:lnTo>
                  <a:pt x="0" y="4048"/>
                </a:lnTo>
                <a:lnTo>
                  <a:pt x="0" y="7331"/>
                </a:lnTo>
                <a:lnTo>
                  <a:pt x="2026" y="9357"/>
                </a:lnTo>
                <a:lnTo>
                  <a:pt x="90576" y="97907"/>
                </a:lnTo>
                <a:lnTo>
                  <a:pt x="2026" y="186459"/>
                </a:lnTo>
                <a:lnTo>
                  <a:pt x="0" y="188483"/>
                </a:lnTo>
                <a:lnTo>
                  <a:pt x="0" y="191766"/>
                </a:lnTo>
                <a:lnTo>
                  <a:pt x="2026" y="193790"/>
                </a:lnTo>
                <a:lnTo>
                  <a:pt x="3040" y="194805"/>
                </a:lnTo>
                <a:lnTo>
                  <a:pt x="4366" y="195311"/>
                </a:lnTo>
                <a:lnTo>
                  <a:pt x="5692" y="195311"/>
                </a:lnTo>
                <a:lnTo>
                  <a:pt x="7017" y="195311"/>
                </a:lnTo>
                <a:lnTo>
                  <a:pt x="8348" y="194805"/>
                </a:lnTo>
                <a:close/>
              </a:path>
            </a:pathLst>
          </a:cu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2133" dirty="0">
              <a:solidFill>
                <a:schemeClr val="bg1"/>
              </a:solidFill>
            </a:endParaRPr>
          </a:p>
        </p:txBody>
      </p:sp>
      <p:grpSp>
        <p:nvGrpSpPr>
          <p:cNvPr id="222" name="ChevronWhite" hidden="1">
            <a:extLst>
              <a:ext uri="{FF2B5EF4-FFF2-40B4-BE49-F238E27FC236}">
                <a16:creationId xmlns:a16="http://schemas.microsoft.com/office/drawing/2014/main" id="{E805EAC7-C51A-4CDF-9298-AB86A3C52C5E}"/>
              </a:ext>
            </a:extLst>
          </p:cNvPr>
          <p:cNvGrpSpPr>
            <a:grpSpLocks noChangeAspect="1"/>
          </p:cNvGrpSpPr>
          <p:nvPr userDrawn="1">
            <p:custDataLst>
              <p:tags r:id="rId33"/>
            </p:custDataLst>
          </p:nvPr>
        </p:nvGrpSpPr>
        <p:grpSpPr>
          <a:xfrm>
            <a:off x="12265377" y="7833360"/>
            <a:ext cx="528304" cy="528304"/>
            <a:chOff x="1016000" y="1016000"/>
            <a:chExt cx="396228" cy="396228"/>
          </a:xfrm>
        </p:grpSpPr>
        <p:sp>
          <p:nvSpPr>
            <p:cNvPr id="223" name="Oval 222">
              <a:extLst>
                <a:ext uri="{FF2B5EF4-FFF2-40B4-BE49-F238E27FC236}">
                  <a16:creationId xmlns:a16="http://schemas.microsoft.com/office/drawing/2014/main" id="{CB0B2C53-CCC1-4654-9C86-47E62845E85E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788581C5-B898-4486-890C-4435EF4A10C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567" y="1118521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chemeClr val="bg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</p:grpSp>
      <p:sp>
        <p:nvSpPr>
          <p:cNvPr id="225" name="LineArrow" hidden="1">
            <a:extLst>
              <a:ext uri="{FF2B5EF4-FFF2-40B4-BE49-F238E27FC236}">
                <a16:creationId xmlns:a16="http://schemas.microsoft.com/office/drawing/2014/main" id="{58E8D1D5-1446-40BA-AC63-6FAFE5C4D271}"/>
              </a:ext>
            </a:extLst>
          </p:cNvPr>
          <p:cNvSpPr>
            <a:spLocks noChangeAspect="1"/>
          </p:cNvSpPr>
          <p:nvPr userDrawn="1">
            <p:custDataLst>
              <p:tags r:id="rId34"/>
            </p:custDataLst>
          </p:nvPr>
        </p:nvSpPr>
        <p:spPr>
          <a:xfrm>
            <a:off x="12604044" y="4630982"/>
            <a:ext cx="435699" cy="308741"/>
          </a:xfrm>
          <a:custGeom>
            <a:avLst/>
            <a:gdLst/>
            <a:ahLst/>
            <a:cxnLst/>
            <a:rect l="0" t="0" r="0" b="0"/>
            <a:pathLst>
              <a:path w="270576" h="191733">
                <a:moveTo>
                  <a:pt x="268764" y="99351"/>
                </a:moveTo>
                <a:lnTo>
                  <a:pt x="177792" y="190362"/>
                </a:lnTo>
                <a:lnTo>
                  <a:pt x="176904" y="191249"/>
                </a:lnTo>
                <a:lnTo>
                  <a:pt x="175697" y="191732"/>
                </a:lnTo>
                <a:lnTo>
                  <a:pt x="174528" y="191732"/>
                </a:lnTo>
                <a:lnTo>
                  <a:pt x="173360" y="191732"/>
                </a:lnTo>
                <a:lnTo>
                  <a:pt x="172151" y="191289"/>
                </a:lnTo>
                <a:lnTo>
                  <a:pt x="171264" y="190362"/>
                </a:lnTo>
                <a:lnTo>
                  <a:pt x="169452" y="188549"/>
                </a:lnTo>
                <a:lnTo>
                  <a:pt x="169452" y="185608"/>
                </a:lnTo>
                <a:lnTo>
                  <a:pt x="171264" y="183794"/>
                </a:lnTo>
                <a:lnTo>
                  <a:pt x="254098" y="100923"/>
                </a:lnTo>
                <a:lnTo>
                  <a:pt x="4633" y="100923"/>
                </a:lnTo>
                <a:lnTo>
                  <a:pt x="2053" y="100923"/>
                </a:lnTo>
                <a:lnTo>
                  <a:pt x="0" y="98868"/>
                </a:lnTo>
                <a:lnTo>
                  <a:pt x="0" y="96289"/>
                </a:lnTo>
                <a:lnTo>
                  <a:pt x="0" y="93711"/>
                </a:lnTo>
                <a:lnTo>
                  <a:pt x="2053" y="91656"/>
                </a:lnTo>
                <a:lnTo>
                  <a:pt x="4633" y="91656"/>
                </a:lnTo>
                <a:lnTo>
                  <a:pt x="254502" y="91656"/>
                </a:lnTo>
                <a:lnTo>
                  <a:pt x="171225" y="8381"/>
                </a:lnTo>
                <a:lnTo>
                  <a:pt x="169411" y="6568"/>
                </a:lnTo>
                <a:lnTo>
                  <a:pt x="169411" y="3626"/>
                </a:lnTo>
                <a:lnTo>
                  <a:pt x="171225" y="1812"/>
                </a:lnTo>
                <a:lnTo>
                  <a:pt x="173038" y="0"/>
                </a:lnTo>
                <a:lnTo>
                  <a:pt x="175979" y="0"/>
                </a:lnTo>
                <a:lnTo>
                  <a:pt x="177792" y="1812"/>
                </a:lnTo>
                <a:lnTo>
                  <a:pt x="268764" y="92784"/>
                </a:lnTo>
                <a:lnTo>
                  <a:pt x="270575" y="94638"/>
                </a:lnTo>
                <a:lnTo>
                  <a:pt x="270575" y="97539"/>
                </a:lnTo>
                <a:close/>
              </a:path>
            </a:pathLst>
          </a:cu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2133" dirty="0">
              <a:solidFill>
                <a:schemeClr val="bg1"/>
              </a:solidFill>
            </a:endParaRPr>
          </a:p>
        </p:txBody>
      </p:sp>
      <p:grpSp>
        <p:nvGrpSpPr>
          <p:cNvPr id="226" name="LineArrowWhite" hidden="1">
            <a:extLst>
              <a:ext uri="{FF2B5EF4-FFF2-40B4-BE49-F238E27FC236}">
                <a16:creationId xmlns:a16="http://schemas.microsoft.com/office/drawing/2014/main" id="{36CD465F-103E-421D-92B8-E077B09F8333}"/>
              </a:ext>
            </a:extLst>
          </p:cNvPr>
          <p:cNvGrpSpPr>
            <a:grpSpLocks noChangeAspect="1"/>
          </p:cNvGrpSpPr>
          <p:nvPr userDrawn="1">
            <p:custDataLst>
              <p:tags r:id="rId35"/>
            </p:custDataLst>
          </p:nvPr>
        </p:nvGrpSpPr>
        <p:grpSpPr>
          <a:xfrm>
            <a:off x="12942711" y="1840653"/>
            <a:ext cx="528304" cy="528304"/>
            <a:chOff x="1016000" y="1016000"/>
            <a:chExt cx="396228" cy="396228"/>
          </a:xfrm>
        </p:grpSpPr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0AED5AAE-D700-4ABE-BE08-BC5F7CE6612B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8E051D3E-1F24-4ABD-B093-163769C623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0497" y="1118503"/>
              <a:ext cx="270062" cy="191369"/>
            </a:xfrm>
            <a:custGeom>
              <a:avLst/>
              <a:gdLst/>
              <a:ahLst/>
              <a:cxnLst/>
              <a:rect l="0" t="0" r="0" b="0"/>
              <a:pathLst>
                <a:path w="270576" h="191733">
                  <a:moveTo>
                    <a:pt x="268764" y="99351"/>
                  </a:moveTo>
                  <a:lnTo>
                    <a:pt x="177792" y="190362"/>
                  </a:lnTo>
                  <a:lnTo>
                    <a:pt x="176904" y="191249"/>
                  </a:lnTo>
                  <a:lnTo>
                    <a:pt x="175697" y="191732"/>
                  </a:lnTo>
                  <a:lnTo>
                    <a:pt x="174528" y="191732"/>
                  </a:lnTo>
                  <a:lnTo>
                    <a:pt x="173360" y="191732"/>
                  </a:lnTo>
                  <a:lnTo>
                    <a:pt x="172151" y="191289"/>
                  </a:lnTo>
                  <a:lnTo>
                    <a:pt x="171264" y="190362"/>
                  </a:lnTo>
                  <a:lnTo>
                    <a:pt x="169452" y="188549"/>
                  </a:lnTo>
                  <a:lnTo>
                    <a:pt x="169452" y="185608"/>
                  </a:lnTo>
                  <a:lnTo>
                    <a:pt x="171264" y="183794"/>
                  </a:lnTo>
                  <a:lnTo>
                    <a:pt x="254098" y="100923"/>
                  </a:lnTo>
                  <a:lnTo>
                    <a:pt x="4633" y="100923"/>
                  </a:lnTo>
                  <a:lnTo>
                    <a:pt x="2053" y="100923"/>
                  </a:lnTo>
                  <a:lnTo>
                    <a:pt x="0" y="98868"/>
                  </a:lnTo>
                  <a:lnTo>
                    <a:pt x="0" y="96289"/>
                  </a:lnTo>
                  <a:lnTo>
                    <a:pt x="0" y="93711"/>
                  </a:lnTo>
                  <a:lnTo>
                    <a:pt x="2053" y="91656"/>
                  </a:lnTo>
                  <a:lnTo>
                    <a:pt x="4633" y="91656"/>
                  </a:lnTo>
                  <a:lnTo>
                    <a:pt x="254502" y="91656"/>
                  </a:lnTo>
                  <a:lnTo>
                    <a:pt x="171225" y="8381"/>
                  </a:lnTo>
                  <a:lnTo>
                    <a:pt x="169411" y="6568"/>
                  </a:lnTo>
                  <a:lnTo>
                    <a:pt x="169411" y="3626"/>
                  </a:lnTo>
                  <a:lnTo>
                    <a:pt x="171225" y="1812"/>
                  </a:lnTo>
                  <a:lnTo>
                    <a:pt x="173038" y="0"/>
                  </a:lnTo>
                  <a:lnTo>
                    <a:pt x="175979" y="0"/>
                  </a:lnTo>
                  <a:lnTo>
                    <a:pt x="177792" y="1812"/>
                  </a:lnTo>
                  <a:lnTo>
                    <a:pt x="268764" y="92784"/>
                  </a:lnTo>
                  <a:lnTo>
                    <a:pt x="270575" y="94638"/>
                  </a:lnTo>
                  <a:lnTo>
                    <a:pt x="270575" y="97539"/>
                  </a:lnTo>
                  <a:close/>
                </a:path>
              </a:pathLst>
            </a:custGeom>
            <a:solidFill>
              <a:schemeClr val="bg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</p:grpSp>
      <p:sp>
        <p:nvSpPr>
          <p:cNvPr id="229" name="Filter" hidden="1">
            <a:extLst>
              <a:ext uri="{FF2B5EF4-FFF2-40B4-BE49-F238E27FC236}">
                <a16:creationId xmlns:a16="http://schemas.microsoft.com/office/drawing/2014/main" id="{018C920A-5714-4DE5-BBAF-66C0B3E5842C}"/>
              </a:ext>
            </a:extLst>
          </p:cNvPr>
          <p:cNvSpPr>
            <a:spLocks noChangeAspect="1"/>
          </p:cNvSpPr>
          <p:nvPr userDrawn="1">
            <p:custDataLst>
              <p:tags r:id="rId36"/>
            </p:custDataLst>
          </p:nvPr>
        </p:nvSpPr>
        <p:spPr>
          <a:xfrm>
            <a:off x="12604044" y="7342294"/>
            <a:ext cx="328701" cy="353405"/>
          </a:xfrm>
          <a:custGeom>
            <a:avLst/>
            <a:gdLst/>
            <a:ahLst/>
            <a:cxnLst/>
            <a:rect l="0" t="0" r="0" b="0"/>
            <a:pathLst>
              <a:path w="202746" h="217984">
                <a:moveTo>
                  <a:pt x="83954" y="217983"/>
                </a:moveTo>
                <a:lnTo>
                  <a:pt x="83184" y="217983"/>
                </a:lnTo>
                <a:lnTo>
                  <a:pt x="82411" y="217799"/>
                </a:lnTo>
                <a:lnTo>
                  <a:pt x="81705" y="217428"/>
                </a:lnTo>
                <a:lnTo>
                  <a:pt x="80116" y="216592"/>
                </a:lnTo>
                <a:lnTo>
                  <a:pt x="79123" y="214945"/>
                </a:lnTo>
                <a:lnTo>
                  <a:pt x="79123" y="213149"/>
                </a:lnTo>
                <a:lnTo>
                  <a:pt x="79123" y="120879"/>
                </a:lnTo>
                <a:lnTo>
                  <a:pt x="1131" y="7575"/>
                </a:lnTo>
                <a:lnTo>
                  <a:pt x="114" y="6095"/>
                </a:lnTo>
                <a:lnTo>
                  <a:pt x="0" y="4175"/>
                </a:lnTo>
                <a:lnTo>
                  <a:pt x="832" y="2587"/>
                </a:lnTo>
                <a:lnTo>
                  <a:pt x="1665" y="996"/>
                </a:lnTo>
                <a:lnTo>
                  <a:pt x="3317" y="0"/>
                </a:lnTo>
                <a:lnTo>
                  <a:pt x="5112" y="0"/>
                </a:lnTo>
                <a:lnTo>
                  <a:pt x="197645" y="0"/>
                </a:lnTo>
                <a:lnTo>
                  <a:pt x="199424" y="0"/>
                </a:lnTo>
                <a:lnTo>
                  <a:pt x="201058" y="976"/>
                </a:lnTo>
                <a:lnTo>
                  <a:pt x="201899" y="2539"/>
                </a:lnTo>
                <a:lnTo>
                  <a:pt x="202745" y="4103"/>
                </a:lnTo>
                <a:lnTo>
                  <a:pt x="202661" y="6006"/>
                </a:lnTo>
                <a:lnTo>
                  <a:pt x="201680" y="7491"/>
                </a:lnTo>
                <a:lnTo>
                  <a:pt x="127109" y="120826"/>
                </a:lnTo>
                <a:lnTo>
                  <a:pt x="127109" y="186825"/>
                </a:lnTo>
                <a:lnTo>
                  <a:pt x="127109" y="188418"/>
                </a:lnTo>
                <a:lnTo>
                  <a:pt x="126323" y="189906"/>
                </a:lnTo>
                <a:lnTo>
                  <a:pt x="125012" y="190809"/>
                </a:lnTo>
                <a:lnTo>
                  <a:pt x="86690" y="217134"/>
                </a:lnTo>
                <a:lnTo>
                  <a:pt x="85870" y="217698"/>
                </a:lnTo>
                <a:lnTo>
                  <a:pt x="84917" y="217983"/>
                </a:lnTo>
                <a:lnTo>
                  <a:pt x="83954" y="217983"/>
                </a:lnTo>
                <a:lnTo>
                  <a:pt x="14310" y="9669"/>
                </a:lnTo>
                <a:lnTo>
                  <a:pt x="87939" y="116639"/>
                </a:lnTo>
                <a:lnTo>
                  <a:pt x="88494" y="117447"/>
                </a:lnTo>
                <a:lnTo>
                  <a:pt x="88792" y="118400"/>
                </a:lnTo>
                <a:lnTo>
                  <a:pt x="88792" y="119379"/>
                </a:lnTo>
                <a:lnTo>
                  <a:pt x="88792" y="203964"/>
                </a:lnTo>
                <a:lnTo>
                  <a:pt x="117445" y="184281"/>
                </a:lnTo>
                <a:lnTo>
                  <a:pt x="117445" y="119379"/>
                </a:lnTo>
                <a:lnTo>
                  <a:pt x="117445" y="118433"/>
                </a:lnTo>
                <a:lnTo>
                  <a:pt x="117722" y="117512"/>
                </a:lnTo>
                <a:lnTo>
                  <a:pt x="118240" y="116723"/>
                </a:lnTo>
                <a:lnTo>
                  <a:pt x="188678" y="9669"/>
                </a:lnTo>
                <a:lnTo>
                  <a:pt x="14310" y="9669"/>
                </a:lnTo>
              </a:path>
            </a:pathLst>
          </a:custGeom>
          <a:solidFill>
            <a:schemeClr val="bg2"/>
          </a:solidFill>
          <a:ln w="6350" cap="sq" cmpd="sng" algn="ctr">
            <a:noFill/>
            <a:prstDash val="solid"/>
            <a:miter lim="800000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grpSp>
        <p:nvGrpSpPr>
          <p:cNvPr id="230" name="FilterWhite" hidden="1">
            <a:extLst>
              <a:ext uri="{FF2B5EF4-FFF2-40B4-BE49-F238E27FC236}">
                <a16:creationId xmlns:a16="http://schemas.microsoft.com/office/drawing/2014/main" id="{F1468C88-CF77-42E4-AFF8-D83DE46B4796}"/>
              </a:ext>
            </a:extLst>
          </p:cNvPr>
          <p:cNvGrpSpPr>
            <a:grpSpLocks noChangeAspect="1"/>
          </p:cNvGrpSpPr>
          <p:nvPr userDrawn="1">
            <p:custDataLst>
              <p:tags r:id="rId37"/>
            </p:custDataLst>
          </p:nvPr>
        </p:nvGrpSpPr>
        <p:grpSpPr>
          <a:xfrm>
            <a:off x="12942711" y="5987627"/>
            <a:ext cx="528304" cy="528304"/>
            <a:chOff x="1016000" y="1016000"/>
            <a:chExt cx="396228" cy="396228"/>
          </a:xfrm>
        </p:grpSpPr>
        <p:sp>
          <p:nvSpPr>
            <p:cNvPr id="231" name="Oval 230">
              <a:extLst>
                <a:ext uri="{FF2B5EF4-FFF2-40B4-BE49-F238E27FC236}">
                  <a16:creationId xmlns:a16="http://schemas.microsoft.com/office/drawing/2014/main" id="{31C2CC31-BB0F-4C1E-AF03-FB9F8E61A333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A47CE583-403C-45F8-A8EA-F5A3335A7F8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14397" y="1116494"/>
              <a:ext cx="203316" cy="218597"/>
            </a:xfrm>
            <a:custGeom>
              <a:avLst/>
              <a:gdLst/>
              <a:ahLst/>
              <a:cxnLst/>
              <a:rect l="0" t="0" r="0" b="0"/>
              <a:pathLst>
                <a:path w="202746" h="217984">
                  <a:moveTo>
                    <a:pt x="83954" y="217983"/>
                  </a:moveTo>
                  <a:lnTo>
                    <a:pt x="83184" y="217983"/>
                  </a:lnTo>
                  <a:lnTo>
                    <a:pt x="82411" y="217799"/>
                  </a:lnTo>
                  <a:lnTo>
                    <a:pt x="81705" y="217428"/>
                  </a:lnTo>
                  <a:lnTo>
                    <a:pt x="80116" y="216592"/>
                  </a:lnTo>
                  <a:lnTo>
                    <a:pt x="79123" y="214945"/>
                  </a:lnTo>
                  <a:lnTo>
                    <a:pt x="79123" y="213149"/>
                  </a:lnTo>
                  <a:lnTo>
                    <a:pt x="79123" y="120879"/>
                  </a:lnTo>
                  <a:lnTo>
                    <a:pt x="1131" y="7575"/>
                  </a:lnTo>
                  <a:lnTo>
                    <a:pt x="114" y="6095"/>
                  </a:lnTo>
                  <a:lnTo>
                    <a:pt x="0" y="4175"/>
                  </a:lnTo>
                  <a:lnTo>
                    <a:pt x="832" y="2587"/>
                  </a:lnTo>
                  <a:lnTo>
                    <a:pt x="1665" y="996"/>
                  </a:lnTo>
                  <a:lnTo>
                    <a:pt x="3317" y="0"/>
                  </a:lnTo>
                  <a:lnTo>
                    <a:pt x="5112" y="0"/>
                  </a:lnTo>
                  <a:lnTo>
                    <a:pt x="197645" y="0"/>
                  </a:lnTo>
                  <a:lnTo>
                    <a:pt x="199424" y="0"/>
                  </a:lnTo>
                  <a:lnTo>
                    <a:pt x="201058" y="976"/>
                  </a:lnTo>
                  <a:lnTo>
                    <a:pt x="201899" y="2539"/>
                  </a:lnTo>
                  <a:lnTo>
                    <a:pt x="202745" y="4103"/>
                  </a:lnTo>
                  <a:lnTo>
                    <a:pt x="202661" y="6006"/>
                  </a:lnTo>
                  <a:lnTo>
                    <a:pt x="201680" y="7491"/>
                  </a:lnTo>
                  <a:lnTo>
                    <a:pt x="127109" y="120826"/>
                  </a:lnTo>
                  <a:lnTo>
                    <a:pt x="127109" y="186825"/>
                  </a:lnTo>
                  <a:lnTo>
                    <a:pt x="127109" y="188418"/>
                  </a:lnTo>
                  <a:lnTo>
                    <a:pt x="126323" y="189906"/>
                  </a:lnTo>
                  <a:lnTo>
                    <a:pt x="125012" y="190809"/>
                  </a:lnTo>
                  <a:lnTo>
                    <a:pt x="86690" y="217134"/>
                  </a:lnTo>
                  <a:lnTo>
                    <a:pt x="85870" y="217698"/>
                  </a:lnTo>
                  <a:lnTo>
                    <a:pt x="84917" y="217983"/>
                  </a:lnTo>
                  <a:lnTo>
                    <a:pt x="83954" y="217983"/>
                  </a:lnTo>
                  <a:lnTo>
                    <a:pt x="14310" y="9669"/>
                  </a:lnTo>
                  <a:lnTo>
                    <a:pt x="87939" y="116639"/>
                  </a:lnTo>
                  <a:lnTo>
                    <a:pt x="88494" y="117447"/>
                  </a:lnTo>
                  <a:lnTo>
                    <a:pt x="88792" y="118400"/>
                  </a:lnTo>
                  <a:lnTo>
                    <a:pt x="88792" y="119379"/>
                  </a:lnTo>
                  <a:lnTo>
                    <a:pt x="88792" y="203964"/>
                  </a:lnTo>
                  <a:lnTo>
                    <a:pt x="117445" y="184281"/>
                  </a:lnTo>
                  <a:lnTo>
                    <a:pt x="117445" y="119379"/>
                  </a:lnTo>
                  <a:lnTo>
                    <a:pt x="117445" y="118433"/>
                  </a:lnTo>
                  <a:lnTo>
                    <a:pt x="117722" y="117512"/>
                  </a:lnTo>
                  <a:lnTo>
                    <a:pt x="118240" y="116723"/>
                  </a:lnTo>
                  <a:lnTo>
                    <a:pt x="188678" y="9669"/>
                  </a:lnTo>
                  <a:lnTo>
                    <a:pt x="14310" y="9669"/>
                  </a:lnTo>
                </a:path>
              </a:pathLst>
            </a:custGeom>
            <a:solidFill>
              <a:schemeClr val="bg2"/>
            </a:solidFill>
            <a:ln w="6350" cap="sq" cmpd="sng" algn="ctr">
              <a:noFill/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sp>
        <p:nvSpPr>
          <p:cNvPr id="233" name="QuestionMark" hidden="1">
            <a:extLst>
              <a:ext uri="{FF2B5EF4-FFF2-40B4-BE49-F238E27FC236}">
                <a16:creationId xmlns:a16="http://schemas.microsoft.com/office/drawing/2014/main" id="{4C8E56A5-109B-4256-AB00-EB3B850CF626}"/>
              </a:ext>
            </a:extLst>
          </p:cNvPr>
          <p:cNvSpPr>
            <a:spLocks noChangeAspect="1"/>
          </p:cNvSpPr>
          <p:nvPr userDrawn="1">
            <p:custDataLst>
              <p:tags r:id="rId38"/>
            </p:custDataLst>
          </p:nvPr>
        </p:nvSpPr>
        <p:spPr>
          <a:xfrm>
            <a:off x="12773377" y="5987627"/>
            <a:ext cx="133531" cy="352652"/>
          </a:xfrm>
          <a:custGeom>
            <a:avLst/>
            <a:gdLst/>
            <a:ahLst/>
            <a:cxnLst/>
            <a:rect l="0" t="0" r="0" b="0"/>
            <a:pathLst>
              <a:path w="100209" h="264650">
                <a:moveTo>
                  <a:pt x="50808" y="192298"/>
                </a:moveTo>
                <a:lnTo>
                  <a:pt x="48235" y="192298"/>
                </a:lnTo>
                <a:lnTo>
                  <a:pt x="46185" y="190247"/>
                </a:lnTo>
                <a:lnTo>
                  <a:pt x="46185" y="187673"/>
                </a:lnTo>
                <a:lnTo>
                  <a:pt x="46185" y="168582"/>
                </a:lnTo>
                <a:lnTo>
                  <a:pt x="46185" y="154191"/>
                </a:lnTo>
                <a:lnTo>
                  <a:pt x="46466" y="142253"/>
                </a:lnTo>
                <a:lnTo>
                  <a:pt x="49803" y="130154"/>
                </a:lnTo>
                <a:lnTo>
                  <a:pt x="53501" y="116809"/>
                </a:lnTo>
                <a:lnTo>
                  <a:pt x="60615" y="104951"/>
                </a:lnTo>
                <a:lnTo>
                  <a:pt x="72231" y="92812"/>
                </a:lnTo>
                <a:lnTo>
                  <a:pt x="89596" y="74684"/>
                </a:lnTo>
                <a:lnTo>
                  <a:pt x="90923" y="65680"/>
                </a:lnTo>
                <a:lnTo>
                  <a:pt x="90923" y="54988"/>
                </a:lnTo>
                <a:lnTo>
                  <a:pt x="90923" y="29744"/>
                </a:lnTo>
                <a:lnTo>
                  <a:pt x="71065" y="9245"/>
                </a:lnTo>
                <a:lnTo>
                  <a:pt x="46666" y="9245"/>
                </a:lnTo>
                <a:lnTo>
                  <a:pt x="31353" y="9245"/>
                </a:lnTo>
                <a:lnTo>
                  <a:pt x="17364" y="17245"/>
                </a:lnTo>
                <a:lnTo>
                  <a:pt x="9206" y="30669"/>
                </a:lnTo>
                <a:lnTo>
                  <a:pt x="7878" y="32840"/>
                </a:lnTo>
                <a:lnTo>
                  <a:pt x="5024" y="33523"/>
                </a:lnTo>
                <a:lnTo>
                  <a:pt x="2854" y="32196"/>
                </a:lnTo>
                <a:lnTo>
                  <a:pt x="682" y="30870"/>
                </a:lnTo>
                <a:lnTo>
                  <a:pt x="0" y="28015"/>
                </a:lnTo>
                <a:lnTo>
                  <a:pt x="1326" y="25846"/>
                </a:lnTo>
                <a:lnTo>
                  <a:pt x="11174" y="9647"/>
                </a:lnTo>
                <a:lnTo>
                  <a:pt x="28137" y="0"/>
                </a:lnTo>
                <a:lnTo>
                  <a:pt x="46709" y="0"/>
                </a:lnTo>
                <a:lnTo>
                  <a:pt x="76211" y="0"/>
                </a:lnTo>
                <a:lnTo>
                  <a:pt x="100208" y="24680"/>
                </a:lnTo>
                <a:lnTo>
                  <a:pt x="100208" y="54988"/>
                </a:lnTo>
                <a:lnTo>
                  <a:pt x="100208" y="69257"/>
                </a:lnTo>
                <a:lnTo>
                  <a:pt x="96831" y="80512"/>
                </a:lnTo>
                <a:lnTo>
                  <a:pt x="78945" y="99203"/>
                </a:lnTo>
                <a:lnTo>
                  <a:pt x="56595" y="122557"/>
                </a:lnTo>
                <a:lnTo>
                  <a:pt x="55429" y="140805"/>
                </a:lnTo>
                <a:lnTo>
                  <a:pt x="55429" y="168621"/>
                </a:lnTo>
                <a:lnTo>
                  <a:pt x="55429" y="187714"/>
                </a:lnTo>
                <a:lnTo>
                  <a:pt x="55429" y="190247"/>
                </a:lnTo>
                <a:lnTo>
                  <a:pt x="53340" y="192298"/>
                </a:lnTo>
                <a:lnTo>
                  <a:pt x="50808" y="192298"/>
                </a:lnTo>
                <a:lnTo>
                  <a:pt x="37745" y="244149"/>
                </a:lnTo>
                <a:lnTo>
                  <a:pt x="37745" y="259826"/>
                </a:lnTo>
                <a:lnTo>
                  <a:pt x="37745" y="262479"/>
                </a:lnTo>
                <a:lnTo>
                  <a:pt x="39914" y="264649"/>
                </a:lnTo>
                <a:lnTo>
                  <a:pt x="42567" y="264649"/>
                </a:lnTo>
                <a:lnTo>
                  <a:pt x="58245" y="264649"/>
                </a:lnTo>
                <a:lnTo>
                  <a:pt x="60897" y="264649"/>
                </a:lnTo>
                <a:lnTo>
                  <a:pt x="63067" y="262479"/>
                </a:lnTo>
                <a:lnTo>
                  <a:pt x="63067" y="259826"/>
                </a:lnTo>
                <a:lnTo>
                  <a:pt x="63067" y="244149"/>
                </a:lnTo>
                <a:lnTo>
                  <a:pt x="63067" y="241497"/>
                </a:lnTo>
                <a:lnTo>
                  <a:pt x="60897" y="239326"/>
                </a:lnTo>
                <a:lnTo>
                  <a:pt x="58245" y="239326"/>
                </a:lnTo>
                <a:lnTo>
                  <a:pt x="42567" y="239326"/>
                </a:lnTo>
                <a:lnTo>
                  <a:pt x="39914" y="239326"/>
                </a:lnTo>
                <a:lnTo>
                  <a:pt x="37745" y="241497"/>
                </a:lnTo>
                <a:lnTo>
                  <a:pt x="37745" y="244149"/>
                </a:lnTo>
              </a:path>
            </a:pathLst>
          </a:custGeom>
          <a:solidFill>
            <a:schemeClr val="bg2"/>
          </a:solidFill>
          <a:ln w="6350" cap="sq" cmpd="sng" algn="ctr">
            <a:noFill/>
            <a:prstDash val="solid"/>
            <a:miter lim="800000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34" name="Asterisk" hidden="1">
            <a:extLst>
              <a:ext uri="{FF2B5EF4-FFF2-40B4-BE49-F238E27FC236}">
                <a16:creationId xmlns:a16="http://schemas.microsoft.com/office/drawing/2014/main" id="{F7A56BE6-0783-4212-8BB4-D7C32387E3A4}"/>
              </a:ext>
            </a:extLst>
          </p:cNvPr>
          <p:cNvSpPr>
            <a:spLocks noChangeAspect="1"/>
          </p:cNvSpPr>
          <p:nvPr userDrawn="1">
            <p:custDataLst>
              <p:tags r:id="rId39"/>
            </p:custDataLst>
          </p:nvPr>
        </p:nvSpPr>
        <p:spPr>
          <a:xfrm>
            <a:off x="13450711" y="8527627"/>
            <a:ext cx="321029" cy="321031"/>
          </a:xfrm>
          <a:custGeom>
            <a:avLst/>
            <a:gdLst/>
            <a:ahLst/>
            <a:cxnLst/>
            <a:rect l="0" t="0" r="0" b="0"/>
            <a:pathLst>
              <a:path w="240773" h="240774">
                <a:moveTo>
                  <a:pt x="236149" y="115764"/>
                </a:moveTo>
                <a:lnTo>
                  <a:pt x="131560" y="115764"/>
                </a:lnTo>
                <a:lnTo>
                  <a:pt x="210505" y="36820"/>
                </a:lnTo>
                <a:lnTo>
                  <a:pt x="212313" y="35010"/>
                </a:lnTo>
                <a:lnTo>
                  <a:pt x="212313" y="32076"/>
                </a:lnTo>
                <a:lnTo>
                  <a:pt x="210505" y="30268"/>
                </a:lnTo>
                <a:lnTo>
                  <a:pt x="208695" y="28458"/>
                </a:lnTo>
                <a:lnTo>
                  <a:pt x="205761" y="28458"/>
                </a:lnTo>
                <a:lnTo>
                  <a:pt x="203951" y="30268"/>
                </a:lnTo>
                <a:lnTo>
                  <a:pt x="125008" y="109212"/>
                </a:lnTo>
                <a:lnTo>
                  <a:pt x="125008" y="4623"/>
                </a:lnTo>
                <a:lnTo>
                  <a:pt x="125008" y="2049"/>
                </a:lnTo>
                <a:lnTo>
                  <a:pt x="122959" y="0"/>
                </a:lnTo>
                <a:lnTo>
                  <a:pt x="120384" y="0"/>
                </a:lnTo>
                <a:lnTo>
                  <a:pt x="117812" y="0"/>
                </a:lnTo>
                <a:lnTo>
                  <a:pt x="115763" y="2049"/>
                </a:lnTo>
                <a:lnTo>
                  <a:pt x="115763" y="4623"/>
                </a:lnTo>
                <a:lnTo>
                  <a:pt x="115763" y="109212"/>
                </a:lnTo>
                <a:lnTo>
                  <a:pt x="36818" y="30268"/>
                </a:lnTo>
                <a:lnTo>
                  <a:pt x="35009" y="28458"/>
                </a:lnTo>
                <a:lnTo>
                  <a:pt x="32075" y="28458"/>
                </a:lnTo>
                <a:lnTo>
                  <a:pt x="30266" y="30268"/>
                </a:lnTo>
                <a:lnTo>
                  <a:pt x="28457" y="32076"/>
                </a:lnTo>
                <a:lnTo>
                  <a:pt x="28457" y="35010"/>
                </a:lnTo>
                <a:lnTo>
                  <a:pt x="30266" y="36820"/>
                </a:lnTo>
                <a:lnTo>
                  <a:pt x="109211" y="115764"/>
                </a:lnTo>
                <a:lnTo>
                  <a:pt x="4621" y="115764"/>
                </a:lnTo>
                <a:lnTo>
                  <a:pt x="2049" y="115764"/>
                </a:lnTo>
                <a:lnTo>
                  <a:pt x="0" y="117814"/>
                </a:lnTo>
                <a:lnTo>
                  <a:pt x="0" y="120385"/>
                </a:lnTo>
                <a:lnTo>
                  <a:pt x="0" y="122959"/>
                </a:lnTo>
                <a:lnTo>
                  <a:pt x="2049" y="125010"/>
                </a:lnTo>
                <a:lnTo>
                  <a:pt x="4621" y="125010"/>
                </a:lnTo>
                <a:lnTo>
                  <a:pt x="109211" y="125010"/>
                </a:lnTo>
                <a:lnTo>
                  <a:pt x="30266" y="203953"/>
                </a:lnTo>
                <a:lnTo>
                  <a:pt x="28457" y="205763"/>
                </a:lnTo>
                <a:lnTo>
                  <a:pt x="28457" y="208696"/>
                </a:lnTo>
                <a:lnTo>
                  <a:pt x="30266" y="210505"/>
                </a:lnTo>
                <a:lnTo>
                  <a:pt x="31150" y="211390"/>
                </a:lnTo>
                <a:lnTo>
                  <a:pt x="32357" y="211872"/>
                </a:lnTo>
                <a:lnTo>
                  <a:pt x="33521" y="211872"/>
                </a:lnTo>
                <a:lnTo>
                  <a:pt x="34689" y="211872"/>
                </a:lnTo>
                <a:lnTo>
                  <a:pt x="35893" y="211430"/>
                </a:lnTo>
                <a:lnTo>
                  <a:pt x="36778" y="210505"/>
                </a:lnTo>
                <a:lnTo>
                  <a:pt x="115722" y="131561"/>
                </a:lnTo>
                <a:lnTo>
                  <a:pt x="115722" y="236150"/>
                </a:lnTo>
                <a:lnTo>
                  <a:pt x="115722" y="238723"/>
                </a:lnTo>
                <a:lnTo>
                  <a:pt x="117772" y="240773"/>
                </a:lnTo>
                <a:lnTo>
                  <a:pt x="120345" y="240773"/>
                </a:lnTo>
                <a:lnTo>
                  <a:pt x="122918" y="240773"/>
                </a:lnTo>
                <a:lnTo>
                  <a:pt x="124967" y="238723"/>
                </a:lnTo>
                <a:lnTo>
                  <a:pt x="124967" y="236150"/>
                </a:lnTo>
                <a:lnTo>
                  <a:pt x="124967" y="131561"/>
                </a:lnTo>
                <a:lnTo>
                  <a:pt x="203912" y="210505"/>
                </a:lnTo>
                <a:lnTo>
                  <a:pt x="204796" y="211390"/>
                </a:lnTo>
                <a:lnTo>
                  <a:pt x="206002" y="211872"/>
                </a:lnTo>
                <a:lnTo>
                  <a:pt x="207168" y="211872"/>
                </a:lnTo>
                <a:lnTo>
                  <a:pt x="208334" y="211872"/>
                </a:lnTo>
                <a:lnTo>
                  <a:pt x="209539" y="211430"/>
                </a:lnTo>
                <a:lnTo>
                  <a:pt x="210424" y="210505"/>
                </a:lnTo>
                <a:lnTo>
                  <a:pt x="212233" y="208696"/>
                </a:lnTo>
                <a:lnTo>
                  <a:pt x="212233" y="205763"/>
                </a:lnTo>
                <a:lnTo>
                  <a:pt x="210424" y="203953"/>
                </a:lnTo>
                <a:lnTo>
                  <a:pt x="131479" y="125010"/>
                </a:lnTo>
                <a:lnTo>
                  <a:pt x="236149" y="125010"/>
                </a:lnTo>
                <a:lnTo>
                  <a:pt x="238721" y="125010"/>
                </a:lnTo>
                <a:lnTo>
                  <a:pt x="240772" y="122959"/>
                </a:lnTo>
                <a:lnTo>
                  <a:pt x="240772" y="120385"/>
                </a:lnTo>
                <a:lnTo>
                  <a:pt x="240772" y="117814"/>
                </a:lnTo>
                <a:lnTo>
                  <a:pt x="238721" y="115764"/>
                </a:lnTo>
                <a:close/>
              </a:path>
            </a:pathLst>
          </a:cu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2133" dirty="0">
              <a:solidFill>
                <a:schemeClr val="bg1"/>
              </a:solidFill>
            </a:endParaRPr>
          </a:p>
        </p:txBody>
      </p:sp>
      <p:sp>
        <p:nvSpPr>
          <p:cNvPr id="235" name="ExclamationMark" hidden="1">
            <a:extLst>
              <a:ext uri="{FF2B5EF4-FFF2-40B4-BE49-F238E27FC236}">
                <a16:creationId xmlns:a16="http://schemas.microsoft.com/office/drawing/2014/main" id="{C5A2DD6B-763C-4882-B42E-A55F64F1D37F}"/>
              </a:ext>
            </a:extLst>
          </p:cNvPr>
          <p:cNvSpPr>
            <a:spLocks noChangeAspect="1"/>
          </p:cNvSpPr>
          <p:nvPr userDrawn="1">
            <p:custDataLst>
              <p:tags r:id="rId40"/>
            </p:custDataLst>
          </p:nvPr>
        </p:nvSpPr>
        <p:spPr>
          <a:xfrm>
            <a:off x="13958711" y="2551091"/>
            <a:ext cx="33765" cy="353724"/>
          </a:xfrm>
          <a:custGeom>
            <a:avLst/>
            <a:gdLst/>
            <a:ahLst/>
            <a:cxnLst/>
            <a:rect l="0" t="0" r="0" b="0"/>
            <a:pathLst>
              <a:path w="25324" h="265294">
                <a:moveTo>
                  <a:pt x="13063" y="192538"/>
                </a:moveTo>
                <a:lnTo>
                  <a:pt x="10491" y="192538"/>
                </a:lnTo>
                <a:lnTo>
                  <a:pt x="8440" y="190488"/>
                </a:lnTo>
                <a:lnTo>
                  <a:pt x="8440" y="187916"/>
                </a:lnTo>
                <a:lnTo>
                  <a:pt x="8440" y="4622"/>
                </a:lnTo>
                <a:lnTo>
                  <a:pt x="8440" y="2051"/>
                </a:lnTo>
                <a:lnTo>
                  <a:pt x="10491" y="0"/>
                </a:lnTo>
                <a:lnTo>
                  <a:pt x="13063" y="0"/>
                </a:lnTo>
                <a:lnTo>
                  <a:pt x="15637" y="0"/>
                </a:lnTo>
                <a:lnTo>
                  <a:pt x="17685" y="2051"/>
                </a:lnTo>
                <a:lnTo>
                  <a:pt x="17685" y="4622"/>
                </a:lnTo>
                <a:lnTo>
                  <a:pt x="17685" y="187916"/>
                </a:lnTo>
                <a:lnTo>
                  <a:pt x="17685" y="190488"/>
                </a:lnTo>
                <a:lnTo>
                  <a:pt x="15637" y="192538"/>
                </a:lnTo>
                <a:lnTo>
                  <a:pt x="13063" y="192538"/>
                </a:lnTo>
                <a:lnTo>
                  <a:pt x="0" y="244793"/>
                </a:lnTo>
                <a:lnTo>
                  <a:pt x="0" y="260469"/>
                </a:lnTo>
                <a:lnTo>
                  <a:pt x="0" y="263122"/>
                </a:lnTo>
                <a:lnTo>
                  <a:pt x="2171" y="265293"/>
                </a:lnTo>
                <a:lnTo>
                  <a:pt x="4822" y="265293"/>
                </a:lnTo>
                <a:lnTo>
                  <a:pt x="20499" y="265293"/>
                </a:lnTo>
                <a:lnTo>
                  <a:pt x="23152" y="265293"/>
                </a:lnTo>
                <a:lnTo>
                  <a:pt x="25323" y="263122"/>
                </a:lnTo>
                <a:lnTo>
                  <a:pt x="25323" y="260469"/>
                </a:lnTo>
                <a:lnTo>
                  <a:pt x="25323" y="244793"/>
                </a:lnTo>
                <a:lnTo>
                  <a:pt x="25323" y="242140"/>
                </a:lnTo>
                <a:lnTo>
                  <a:pt x="23152" y="239969"/>
                </a:lnTo>
                <a:lnTo>
                  <a:pt x="20499" y="239969"/>
                </a:lnTo>
                <a:lnTo>
                  <a:pt x="4822" y="239969"/>
                </a:lnTo>
                <a:lnTo>
                  <a:pt x="2171" y="239969"/>
                </a:lnTo>
                <a:lnTo>
                  <a:pt x="0" y="242140"/>
                </a:lnTo>
                <a:lnTo>
                  <a:pt x="0" y="244793"/>
                </a:lnTo>
              </a:path>
            </a:pathLst>
          </a:custGeom>
          <a:solidFill>
            <a:schemeClr val="bg2"/>
          </a:solidFill>
          <a:ln w="6350" cap="sq" cmpd="sng" algn="ctr">
            <a:noFill/>
            <a:prstDash val="solid"/>
            <a:miter lim="800000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grpSp>
        <p:nvGrpSpPr>
          <p:cNvPr id="236" name="QuotationMarks" hidden="1">
            <a:extLst>
              <a:ext uri="{FF2B5EF4-FFF2-40B4-BE49-F238E27FC236}">
                <a16:creationId xmlns:a16="http://schemas.microsoft.com/office/drawing/2014/main" id="{923B0523-0FAB-44CE-A4FF-781175E2AC9D}"/>
              </a:ext>
            </a:extLst>
          </p:cNvPr>
          <p:cNvGrpSpPr>
            <a:grpSpLocks noChangeAspect="1"/>
          </p:cNvGrpSpPr>
          <p:nvPr userDrawn="1">
            <p:custDataLst>
              <p:tags r:id="rId41"/>
            </p:custDataLst>
          </p:nvPr>
        </p:nvGrpSpPr>
        <p:grpSpPr>
          <a:xfrm>
            <a:off x="12265378" y="8680027"/>
            <a:ext cx="297900" cy="168528"/>
            <a:chOff x="1018198" y="1915826"/>
            <a:chExt cx="5902920" cy="3339389"/>
          </a:xfrm>
          <a:solidFill>
            <a:schemeClr val="bg2"/>
          </a:solidFill>
        </p:grpSpPr>
        <p:grpSp>
          <p:nvGrpSpPr>
            <p:cNvPr id="237" name="Group 236">
              <a:extLst>
                <a:ext uri="{FF2B5EF4-FFF2-40B4-BE49-F238E27FC236}">
                  <a16:creationId xmlns:a16="http://schemas.microsoft.com/office/drawing/2014/main" id="{81E0AC7E-65EE-4F2E-9D52-44D9ABCB93BC}"/>
                </a:ext>
              </a:extLst>
            </p:cNvPr>
            <p:cNvGrpSpPr/>
            <p:nvPr/>
          </p:nvGrpSpPr>
          <p:grpSpPr>
            <a:xfrm>
              <a:off x="4446462" y="3060258"/>
              <a:ext cx="2474656" cy="2194957"/>
              <a:chOff x="8918818" y="4018207"/>
              <a:chExt cx="2474656" cy="2194957"/>
            </a:xfrm>
            <a:grpFill/>
          </p:grpSpPr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DC971F0D-6B60-44D4-B634-4AB5C3F0777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18818" y="4018207"/>
                <a:ext cx="1110328" cy="2194957"/>
              </a:xfrm>
              <a:custGeom>
                <a:avLst/>
                <a:gdLst>
                  <a:gd name="connsiteX0" fmla="*/ 214156 w 1087143"/>
                  <a:gd name="connsiteY0" fmla="*/ 0 h 2180598"/>
                  <a:gd name="connsiteX1" fmla="*/ 927552 w 1087143"/>
                  <a:gd name="connsiteY1" fmla="*/ 0 h 2180598"/>
                  <a:gd name="connsiteX2" fmla="*/ 1015319 w 1087143"/>
                  <a:gd name="connsiteY2" fmla="*/ 0 h 2180598"/>
                  <a:gd name="connsiteX3" fmla="*/ 1087143 w 1087143"/>
                  <a:gd name="connsiteY3" fmla="*/ 71430 h 2180598"/>
                  <a:gd name="connsiteX4" fmla="*/ 1087143 w 1087143"/>
                  <a:gd name="connsiteY4" fmla="*/ 159275 h 2180598"/>
                  <a:gd name="connsiteX5" fmla="*/ 1087143 w 1087143"/>
                  <a:gd name="connsiteY5" fmla="*/ 675274 h 2180598"/>
                  <a:gd name="connsiteX6" fmla="*/ 1087143 w 1087143"/>
                  <a:gd name="connsiteY6" fmla="*/ 697005 h 2180598"/>
                  <a:gd name="connsiteX7" fmla="*/ 1087143 w 1087143"/>
                  <a:gd name="connsiteY7" fmla="*/ 955202 h 2180598"/>
                  <a:gd name="connsiteX8" fmla="*/ 1087143 w 1087143"/>
                  <a:gd name="connsiteY8" fmla="*/ 1510244 h 2180598"/>
                  <a:gd name="connsiteX9" fmla="*/ 774143 w 1087143"/>
                  <a:gd name="connsiteY9" fmla="*/ 1955235 h 2180598"/>
                  <a:gd name="connsiteX10" fmla="*/ 219469 w 1087143"/>
                  <a:gd name="connsiteY10" fmla="*/ 2169522 h 2180598"/>
                  <a:gd name="connsiteX11" fmla="*/ 203080 w 1087143"/>
                  <a:gd name="connsiteY11" fmla="*/ 2180598 h 2180598"/>
                  <a:gd name="connsiteX12" fmla="*/ 186663 w 1087143"/>
                  <a:gd name="connsiteY12" fmla="*/ 2180598 h 2180598"/>
                  <a:gd name="connsiteX13" fmla="*/ 164483 w 1087143"/>
                  <a:gd name="connsiteY13" fmla="*/ 2180598 h 2180598"/>
                  <a:gd name="connsiteX14" fmla="*/ 104210 w 1087143"/>
                  <a:gd name="connsiteY14" fmla="*/ 2180598 h 2180598"/>
                  <a:gd name="connsiteX15" fmla="*/ 49224 w 1087143"/>
                  <a:gd name="connsiteY15" fmla="*/ 2147343 h 2180598"/>
                  <a:gd name="connsiteX16" fmla="*/ 27494 w 1087143"/>
                  <a:gd name="connsiteY16" fmla="*/ 2086989 h 2180598"/>
                  <a:gd name="connsiteX17" fmla="*/ 0 w 1087143"/>
                  <a:gd name="connsiteY17" fmla="*/ 2010247 h 2180598"/>
                  <a:gd name="connsiteX18" fmla="*/ 32808 w 1087143"/>
                  <a:gd name="connsiteY18" fmla="*/ 1922401 h 2180598"/>
                  <a:gd name="connsiteX19" fmla="*/ 109525 w 1087143"/>
                  <a:gd name="connsiteY19" fmla="*/ 1894882 h 2180598"/>
                  <a:gd name="connsiteX20" fmla="*/ 356909 w 1087143"/>
                  <a:gd name="connsiteY20" fmla="*/ 1801274 h 2180598"/>
                  <a:gd name="connsiteX21" fmla="*/ 751967 w 1087143"/>
                  <a:gd name="connsiteY21" fmla="*/ 1559915 h 2180598"/>
                  <a:gd name="connsiteX22" fmla="*/ 785220 w 1087143"/>
                  <a:gd name="connsiteY22" fmla="*/ 1026631 h 2180598"/>
                  <a:gd name="connsiteX23" fmla="*/ 214156 w 1087143"/>
                  <a:gd name="connsiteY23" fmla="*/ 1026631 h 2180598"/>
                  <a:gd name="connsiteX24" fmla="*/ 126363 w 1087143"/>
                  <a:gd name="connsiteY24" fmla="*/ 1026631 h 2180598"/>
                  <a:gd name="connsiteX25" fmla="*/ 60301 w 1087143"/>
                  <a:gd name="connsiteY25" fmla="*/ 960990 h 2180598"/>
                  <a:gd name="connsiteX26" fmla="*/ 60301 w 1087143"/>
                  <a:gd name="connsiteY26" fmla="*/ 873144 h 2180598"/>
                  <a:gd name="connsiteX27" fmla="*/ 60301 w 1087143"/>
                  <a:gd name="connsiteY27" fmla="*/ 159275 h 2180598"/>
                  <a:gd name="connsiteX28" fmla="*/ 60301 w 1087143"/>
                  <a:gd name="connsiteY28" fmla="*/ 71430 h 2180598"/>
                  <a:gd name="connsiteX29" fmla="*/ 126363 w 1087143"/>
                  <a:gd name="connsiteY29" fmla="*/ 0 h 2180598"/>
                  <a:gd name="connsiteX30" fmla="*/ 214156 w 1087143"/>
                  <a:gd name="connsiteY30" fmla="*/ 0 h 2180598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110328"/>
                  <a:gd name="connsiteY0" fmla="*/ 5291 h 2185889"/>
                  <a:gd name="connsiteX1" fmla="*/ 927552 w 1110328"/>
                  <a:gd name="connsiteY1" fmla="*/ 5291 h 2185889"/>
                  <a:gd name="connsiteX2" fmla="*/ 1015319 w 1110328"/>
                  <a:gd name="connsiteY2" fmla="*/ 5291 h 2185889"/>
                  <a:gd name="connsiteX3" fmla="*/ 1087143 w 1110328"/>
                  <a:gd name="connsiteY3" fmla="*/ 76721 h 2185889"/>
                  <a:gd name="connsiteX4" fmla="*/ 1087143 w 1110328"/>
                  <a:gd name="connsiteY4" fmla="*/ 164566 h 2185889"/>
                  <a:gd name="connsiteX5" fmla="*/ 1087143 w 1110328"/>
                  <a:gd name="connsiteY5" fmla="*/ 680565 h 2185889"/>
                  <a:gd name="connsiteX6" fmla="*/ 1087143 w 1110328"/>
                  <a:gd name="connsiteY6" fmla="*/ 702296 h 2185889"/>
                  <a:gd name="connsiteX7" fmla="*/ 1087143 w 1110328"/>
                  <a:gd name="connsiteY7" fmla="*/ 960493 h 2185889"/>
                  <a:gd name="connsiteX8" fmla="*/ 1087143 w 1110328"/>
                  <a:gd name="connsiteY8" fmla="*/ 1515535 h 2185889"/>
                  <a:gd name="connsiteX9" fmla="*/ 774143 w 1110328"/>
                  <a:gd name="connsiteY9" fmla="*/ 1960526 h 2185889"/>
                  <a:gd name="connsiteX10" fmla="*/ 219469 w 1110328"/>
                  <a:gd name="connsiteY10" fmla="*/ 2174813 h 2185889"/>
                  <a:gd name="connsiteX11" fmla="*/ 203080 w 1110328"/>
                  <a:gd name="connsiteY11" fmla="*/ 2185889 h 2185889"/>
                  <a:gd name="connsiteX12" fmla="*/ 186663 w 1110328"/>
                  <a:gd name="connsiteY12" fmla="*/ 2185889 h 2185889"/>
                  <a:gd name="connsiteX13" fmla="*/ 164483 w 1110328"/>
                  <a:gd name="connsiteY13" fmla="*/ 2185889 h 2185889"/>
                  <a:gd name="connsiteX14" fmla="*/ 104210 w 1110328"/>
                  <a:gd name="connsiteY14" fmla="*/ 2185889 h 2185889"/>
                  <a:gd name="connsiteX15" fmla="*/ 49224 w 1110328"/>
                  <a:gd name="connsiteY15" fmla="*/ 2152634 h 2185889"/>
                  <a:gd name="connsiteX16" fmla="*/ 27494 w 1110328"/>
                  <a:gd name="connsiteY16" fmla="*/ 2092280 h 2185889"/>
                  <a:gd name="connsiteX17" fmla="*/ 0 w 1110328"/>
                  <a:gd name="connsiteY17" fmla="*/ 2015538 h 2185889"/>
                  <a:gd name="connsiteX18" fmla="*/ 32808 w 1110328"/>
                  <a:gd name="connsiteY18" fmla="*/ 1927692 h 2185889"/>
                  <a:gd name="connsiteX19" fmla="*/ 109525 w 1110328"/>
                  <a:gd name="connsiteY19" fmla="*/ 1900173 h 2185889"/>
                  <a:gd name="connsiteX20" fmla="*/ 356909 w 1110328"/>
                  <a:gd name="connsiteY20" fmla="*/ 1806565 h 2185889"/>
                  <a:gd name="connsiteX21" fmla="*/ 751967 w 1110328"/>
                  <a:gd name="connsiteY21" fmla="*/ 1565206 h 2185889"/>
                  <a:gd name="connsiteX22" fmla="*/ 785220 w 1110328"/>
                  <a:gd name="connsiteY22" fmla="*/ 1031922 h 2185889"/>
                  <a:gd name="connsiteX23" fmla="*/ 214156 w 1110328"/>
                  <a:gd name="connsiteY23" fmla="*/ 1031922 h 2185889"/>
                  <a:gd name="connsiteX24" fmla="*/ 126363 w 1110328"/>
                  <a:gd name="connsiteY24" fmla="*/ 1031922 h 2185889"/>
                  <a:gd name="connsiteX25" fmla="*/ 60301 w 1110328"/>
                  <a:gd name="connsiteY25" fmla="*/ 966281 h 2185889"/>
                  <a:gd name="connsiteX26" fmla="*/ 60301 w 1110328"/>
                  <a:gd name="connsiteY26" fmla="*/ 878435 h 2185889"/>
                  <a:gd name="connsiteX27" fmla="*/ 60301 w 1110328"/>
                  <a:gd name="connsiteY27" fmla="*/ 164566 h 2185889"/>
                  <a:gd name="connsiteX28" fmla="*/ 60301 w 1110328"/>
                  <a:gd name="connsiteY28" fmla="*/ 76721 h 2185889"/>
                  <a:gd name="connsiteX29" fmla="*/ 126363 w 1110328"/>
                  <a:gd name="connsiteY29" fmla="*/ 5291 h 2185889"/>
                  <a:gd name="connsiteX30" fmla="*/ 214156 w 1110328"/>
                  <a:gd name="connsiteY30" fmla="*/ 5291 h 2185889"/>
                  <a:gd name="connsiteX0" fmla="*/ 214156 w 1110328"/>
                  <a:gd name="connsiteY0" fmla="*/ 5291 h 2185889"/>
                  <a:gd name="connsiteX1" fmla="*/ 927552 w 1110328"/>
                  <a:gd name="connsiteY1" fmla="*/ 5291 h 2185889"/>
                  <a:gd name="connsiteX2" fmla="*/ 1015319 w 1110328"/>
                  <a:gd name="connsiteY2" fmla="*/ 5291 h 2185889"/>
                  <a:gd name="connsiteX3" fmla="*/ 1087143 w 1110328"/>
                  <a:gd name="connsiteY3" fmla="*/ 76721 h 2185889"/>
                  <a:gd name="connsiteX4" fmla="*/ 1087143 w 1110328"/>
                  <a:gd name="connsiteY4" fmla="*/ 164566 h 2185889"/>
                  <a:gd name="connsiteX5" fmla="*/ 1087143 w 1110328"/>
                  <a:gd name="connsiteY5" fmla="*/ 680565 h 2185889"/>
                  <a:gd name="connsiteX6" fmla="*/ 1087143 w 1110328"/>
                  <a:gd name="connsiteY6" fmla="*/ 702296 h 2185889"/>
                  <a:gd name="connsiteX7" fmla="*/ 1087143 w 1110328"/>
                  <a:gd name="connsiteY7" fmla="*/ 960493 h 2185889"/>
                  <a:gd name="connsiteX8" fmla="*/ 1087143 w 1110328"/>
                  <a:gd name="connsiteY8" fmla="*/ 1515535 h 2185889"/>
                  <a:gd name="connsiteX9" fmla="*/ 774143 w 1110328"/>
                  <a:gd name="connsiteY9" fmla="*/ 1960526 h 2185889"/>
                  <a:gd name="connsiteX10" fmla="*/ 219469 w 1110328"/>
                  <a:gd name="connsiteY10" fmla="*/ 2174813 h 2185889"/>
                  <a:gd name="connsiteX11" fmla="*/ 203080 w 1110328"/>
                  <a:gd name="connsiteY11" fmla="*/ 2185889 h 2185889"/>
                  <a:gd name="connsiteX12" fmla="*/ 186663 w 1110328"/>
                  <a:gd name="connsiteY12" fmla="*/ 2185889 h 2185889"/>
                  <a:gd name="connsiteX13" fmla="*/ 164483 w 1110328"/>
                  <a:gd name="connsiteY13" fmla="*/ 2185889 h 2185889"/>
                  <a:gd name="connsiteX14" fmla="*/ 104210 w 1110328"/>
                  <a:gd name="connsiteY14" fmla="*/ 2185889 h 2185889"/>
                  <a:gd name="connsiteX15" fmla="*/ 49224 w 1110328"/>
                  <a:gd name="connsiteY15" fmla="*/ 2152634 h 2185889"/>
                  <a:gd name="connsiteX16" fmla="*/ 27494 w 1110328"/>
                  <a:gd name="connsiteY16" fmla="*/ 2092280 h 2185889"/>
                  <a:gd name="connsiteX17" fmla="*/ 0 w 1110328"/>
                  <a:gd name="connsiteY17" fmla="*/ 2015538 h 2185889"/>
                  <a:gd name="connsiteX18" fmla="*/ 32808 w 1110328"/>
                  <a:gd name="connsiteY18" fmla="*/ 1927692 h 2185889"/>
                  <a:gd name="connsiteX19" fmla="*/ 109525 w 1110328"/>
                  <a:gd name="connsiteY19" fmla="*/ 1900173 h 2185889"/>
                  <a:gd name="connsiteX20" fmla="*/ 356909 w 1110328"/>
                  <a:gd name="connsiteY20" fmla="*/ 1806565 h 2185889"/>
                  <a:gd name="connsiteX21" fmla="*/ 751967 w 1110328"/>
                  <a:gd name="connsiteY21" fmla="*/ 1565206 h 2185889"/>
                  <a:gd name="connsiteX22" fmla="*/ 785220 w 1110328"/>
                  <a:gd name="connsiteY22" fmla="*/ 1031922 h 2185889"/>
                  <a:gd name="connsiteX23" fmla="*/ 214156 w 1110328"/>
                  <a:gd name="connsiteY23" fmla="*/ 1031922 h 2185889"/>
                  <a:gd name="connsiteX24" fmla="*/ 126363 w 1110328"/>
                  <a:gd name="connsiteY24" fmla="*/ 1031922 h 2185889"/>
                  <a:gd name="connsiteX25" fmla="*/ 60301 w 1110328"/>
                  <a:gd name="connsiteY25" fmla="*/ 966281 h 2185889"/>
                  <a:gd name="connsiteX26" fmla="*/ 60301 w 1110328"/>
                  <a:gd name="connsiteY26" fmla="*/ 878435 h 2185889"/>
                  <a:gd name="connsiteX27" fmla="*/ 60301 w 1110328"/>
                  <a:gd name="connsiteY27" fmla="*/ 164566 h 2185889"/>
                  <a:gd name="connsiteX28" fmla="*/ 60301 w 1110328"/>
                  <a:gd name="connsiteY28" fmla="*/ 76721 h 2185889"/>
                  <a:gd name="connsiteX29" fmla="*/ 126363 w 1110328"/>
                  <a:gd name="connsiteY29" fmla="*/ 5291 h 2185889"/>
                  <a:gd name="connsiteX30" fmla="*/ 214156 w 1110328"/>
                  <a:gd name="connsiteY30" fmla="*/ 5291 h 2185889"/>
                  <a:gd name="connsiteX0" fmla="*/ 214156 w 1110328"/>
                  <a:gd name="connsiteY0" fmla="*/ 5291 h 2194111"/>
                  <a:gd name="connsiteX1" fmla="*/ 927552 w 1110328"/>
                  <a:gd name="connsiteY1" fmla="*/ 5291 h 2194111"/>
                  <a:gd name="connsiteX2" fmla="*/ 1015319 w 1110328"/>
                  <a:gd name="connsiteY2" fmla="*/ 5291 h 2194111"/>
                  <a:gd name="connsiteX3" fmla="*/ 1087143 w 1110328"/>
                  <a:gd name="connsiteY3" fmla="*/ 76721 h 2194111"/>
                  <a:gd name="connsiteX4" fmla="*/ 1087143 w 1110328"/>
                  <a:gd name="connsiteY4" fmla="*/ 164566 h 2194111"/>
                  <a:gd name="connsiteX5" fmla="*/ 1087143 w 1110328"/>
                  <a:gd name="connsiteY5" fmla="*/ 680565 h 2194111"/>
                  <a:gd name="connsiteX6" fmla="*/ 1087143 w 1110328"/>
                  <a:gd name="connsiteY6" fmla="*/ 702296 h 2194111"/>
                  <a:gd name="connsiteX7" fmla="*/ 1087143 w 1110328"/>
                  <a:gd name="connsiteY7" fmla="*/ 960493 h 2194111"/>
                  <a:gd name="connsiteX8" fmla="*/ 1087143 w 1110328"/>
                  <a:gd name="connsiteY8" fmla="*/ 1515535 h 2194111"/>
                  <a:gd name="connsiteX9" fmla="*/ 774143 w 1110328"/>
                  <a:gd name="connsiteY9" fmla="*/ 1960526 h 2194111"/>
                  <a:gd name="connsiteX10" fmla="*/ 219469 w 1110328"/>
                  <a:gd name="connsiteY10" fmla="*/ 2174813 h 2194111"/>
                  <a:gd name="connsiteX11" fmla="*/ 203080 w 1110328"/>
                  <a:gd name="connsiteY11" fmla="*/ 2185889 h 2194111"/>
                  <a:gd name="connsiteX12" fmla="*/ 186663 w 1110328"/>
                  <a:gd name="connsiteY12" fmla="*/ 2185889 h 2194111"/>
                  <a:gd name="connsiteX13" fmla="*/ 164483 w 1110328"/>
                  <a:gd name="connsiteY13" fmla="*/ 2185889 h 2194111"/>
                  <a:gd name="connsiteX14" fmla="*/ 104210 w 1110328"/>
                  <a:gd name="connsiteY14" fmla="*/ 2185889 h 2194111"/>
                  <a:gd name="connsiteX15" fmla="*/ 49224 w 1110328"/>
                  <a:gd name="connsiteY15" fmla="*/ 2152634 h 2194111"/>
                  <a:gd name="connsiteX16" fmla="*/ 27494 w 1110328"/>
                  <a:gd name="connsiteY16" fmla="*/ 2092280 h 2194111"/>
                  <a:gd name="connsiteX17" fmla="*/ 0 w 1110328"/>
                  <a:gd name="connsiteY17" fmla="*/ 2015538 h 2194111"/>
                  <a:gd name="connsiteX18" fmla="*/ 32808 w 1110328"/>
                  <a:gd name="connsiteY18" fmla="*/ 1927692 h 2194111"/>
                  <a:gd name="connsiteX19" fmla="*/ 109525 w 1110328"/>
                  <a:gd name="connsiteY19" fmla="*/ 1900173 h 2194111"/>
                  <a:gd name="connsiteX20" fmla="*/ 356909 w 1110328"/>
                  <a:gd name="connsiteY20" fmla="*/ 1806565 h 2194111"/>
                  <a:gd name="connsiteX21" fmla="*/ 751967 w 1110328"/>
                  <a:gd name="connsiteY21" fmla="*/ 1565206 h 2194111"/>
                  <a:gd name="connsiteX22" fmla="*/ 785220 w 1110328"/>
                  <a:gd name="connsiteY22" fmla="*/ 1031922 h 2194111"/>
                  <a:gd name="connsiteX23" fmla="*/ 214156 w 1110328"/>
                  <a:gd name="connsiteY23" fmla="*/ 1031922 h 2194111"/>
                  <a:gd name="connsiteX24" fmla="*/ 126363 w 1110328"/>
                  <a:gd name="connsiteY24" fmla="*/ 1031922 h 2194111"/>
                  <a:gd name="connsiteX25" fmla="*/ 60301 w 1110328"/>
                  <a:gd name="connsiteY25" fmla="*/ 966281 h 2194111"/>
                  <a:gd name="connsiteX26" fmla="*/ 60301 w 1110328"/>
                  <a:gd name="connsiteY26" fmla="*/ 878435 h 2194111"/>
                  <a:gd name="connsiteX27" fmla="*/ 60301 w 1110328"/>
                  <a:gd name="connsiteY27" fmla="*/ 164566 h 2194111"/>
                  <a:gd name="connsiteX28" fmla="*/ 60301 w 1110328"/>
                  <a:gd name="connsiteY28" fmla="*/ 76721 h 2194111"/>
                  <a:gd name="connsiteX29" fmla="*/ 126363 w 1110328"/>
                  <a:gd name="connsiteY29" fmla="*/ 5291 h 2194111"/>
                  <a:gd name="connsiteX30" fmla="*/ 214156 w 1110328"/>
                  <a:gd name="connsiteY30" fmla="*/ 5291 h 2194111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6221 w 1112393"/>
                  <a:gd name="connsiteY0" fmla="*/ 5291 h 2194956"/>
                  <a:gd name="connsiteX1" fmla="*/ 929617 w 1112393"/>
                  <a:gd name="connsiteY1" fmla="*/ 5291 h 2194956"/>
                  <a:gd name="connsiteX2" fmla="*/ 1017384 w 1112393"/>
                  <a:gd name="connsiteY2" fmla="*/ 5291 h 2194956"/>
                  <a:gd name="connsiteX3" fmla="*/ 1089208 w 1112393"/>
                  <a:gd name="connsiteY3" fmla="*/ 76721 h 2194956"/>
                  <a:gd name="connsiteX4" fmla="*/ 1089208 w 1112393"/>
                  <a:gd name="connsiteY4" fmla="*/ 164566 h 2194956"/>
                  <a:gd name="connsiteX5" fmla="*/ 1089208 w 1112393"/>
                  <a:gd name="connsiteY5" fmla="*/ 680565 h 2194956"/>
                  <a:gd name="connsiteX6" fmla="*/ 1089208 w 1112393"/>
                  <a:gd name="connsiteY6" fmla="*/ 702296 h 2194956"/>
                  <a:gd name="connsiteX7" fmla="*/ 1089208 w 1112393"/>
                  <a:gd name="connsiteY7" fmla="*/ 960493 h 2194956"/>
                  <a:gd name="connsiteX8" fmla="*/ 1089208 w 1112393"/>
                  <a:gd name="connsiteY8" fmla="*/ 1515535 h 2194956"/>
                  <a:gd name="connsiteX9" fmla="*/ 776208 w 1112393"/>
                  <a:gd name="connsiteY9" fmla="*/ 1960526 h 2194956"/>
                  <a:gd name="connsiteX10" fmla="*/ 221534 w 1112393"/>
                  <a:gd name="connsiteY10" fmla="*/ 2174813 h 2194956"/>
                  <a:gd name="connsiteX11" fmla="*/ 205145 w 1112393"/>
                  <a:gd name="connsiteY11" fmla="*/ 2185889 h 2194956"/>
                  <a:gd name="connsiteX12" fmla="*/ 188728 w 1112393"/>
                  <a:gd name="connsiteY12" fmla="*/ 2185889 h 2194956"/>
                  <a:gd name="connsiteX13" fmla="*/ 166548 w 1112393"/>
                  <a:gd name="connsiteY13" fmla="*/ 2185889 h 2194956"/>
                  <a:gd name="connsiteX14" fmla="*/ 106275 w 1112393"/>
                  <a:gd name="connsiteY14" fmla="*/ 2185889 h 2194956"/>
                  <a:gd name="connsiteX15" fmla="*/ 51289 w 1112393"/>
                  <a:gd name="connsiteY15" fmla="*/ 2152634 h 2194956"/>
                  <a:gd name="connsiteX16" fmla="*/ 29559 w 1112393"/>
                  <a:gd name="connsiteY16" fmla="*/ 2092280 h 2194956"/>
                  <a:gd name="connsiteX17" fmla="*/ 2065 w 1112393"/>
                  <a:gd name="connsiteY17" fmla="*/ 2015538 h 2194956"/>
                  <a:gd name="connsiteX18" fmla="*/ 34873 w 1112393"/>
                  <a:gd name="connsiteY18" fmla="*/ 1927692 h 2194956"/>
                  <a:gd name="connsiteX19" fmla="*/ 111590 w 1112393"/>
                  <a:gd name="connsiteY19" fmla="*/ 1900173 h 2194956"/>
                  <a:gd name="connsiteX20" fmla="*/ 358974 w 1112393"/>
                  <a:gd name="connsiteY20" fmla="*/ 1806565 h 2194956"/>
                  <a:gd name="connsiteX21" fmla="*/ 754032 w 1112393"/>
                  <a:gd name="connsiteY21" fmla="*/ 1565206 h 2194956"/>
                  <a:gd name="connsiteX22" fmla="*/ 787285 w 1112393"/>
                  <a:gd name="connsiteY22" fmla="*/ 1031922 h 2194956"/>
                  <a:gd name="connsiteX23" fmla="*/ 216221 w 1112393"/>
                  <a:gd name="connsiteY23" fmla="*/ 1031922 h 2194956"/>
                  <a:gd name="connsiteX24" fmla="*/ 128428 w 1112393"/>
                  <a:gd name="connsiteY24" fmla="*/ 1031922 h 2194956"/>
                  <a:gd name="connsiteX25" fmla="*/ 62366 w 1112393"/>
                  <a:gd name="connsiteY25" fmla="*/ 966281 h 2194956"/>
                  <a:gd name="connsiteX26" fmla="*/ 62366 w 1112393"/>
                  <a:gd name="connsiteY26" fmla="*/ 878435 h 2194956"/>
                  <a:gd name="connsiteX27" fmla="*/ 62366 w 1112393"/>
                  <a:gd name="connsiteY27" fmla="*/ 164566 h 2194956"/>
                  <a:gd name="connsiteX28" fmla="*/ 62366 w 1112393"/>
                  <a:gd name="connsiteY28" fmla="*/ 76721 h 2194956"/>
                  <a:gd name="connsiteX29" fmla="*/ 128428 w 1112393"/>
                  <a:gd name="connsiteY29" fmla="*/ 5291 h 2194956"/>
                  <a:gd name="connsiteX30" fmla="*/ 216221 w 1112393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9224 h 2198889"/>
                  <a:gd name="connsiteX1" fmla="*/ 927552 w 1110328"/>
                  <a:gd name="connsiteY1" fmla="*/ 9224 h 2198889"/>
                  <a:gd name="connsiteX2" fmla="*/ 1015319 w 1110328"/>
                  <a:gd name="connsiteY2" fmla="*/ 9224 h 2198889"/>
                  <a:gd name="connsiteX3" fmla="*/ 1087143 w 1110328"/>
                  <a:gd name="connsiteY3" fmla="*/ 80654 h 2198889"/>
                  <a:gd name="connsiteX4" fmla="*/ 1087143 w 1110328"/>
                  <a:gd name="connsiteY4" fmla="*/ 168499 h 2198889"/>
                  <a:gd name="connsiteX5" fmla="*/ 1087143 w 1110328"/>
                  <a:gd name="connsiteY5" fmla="*/ 684498 h 2198889"/>
                  <a:gd name="connsiteX6" fmla="*/ 1087143 w 1110328"/>
                  <a:gd name="connsiteY6" fmla="*/ 706229 h 2198889"/>
                  <a:gd name="connsiteX7" fmla="*/ 1087143 w 1110328"/>
                  <a:gd name="connsiteY7" fmla="*/ 964426 h 2198889"/>
                  <a:gd name="connsiteX8" fmla="*/ 1087143 w 1110328"/>
                  <a:gd name="connsiteY8" fmla="*/ 1519468 h 2198889"/>
                  <a:gd name="connsiteX9" fmla="*/ 774143 w 1110328"/>
                  <a:gd name="connsiteY9" fmla="*/ 1964459 h 2198889"/>
                  <a:gd name="connsiteX10" fmla="*/ 219469 w 1110328"/>
                  <a:gd name="connsiteY10" fmla="*/ 2178746 h 2198889"/>
                  <a:gd name="connsiteX11" fmla="*/ 203080 w 1110328"/>
                  <a:gd name="connsiteY11" fmla="*/ 2189822 h 2198889"/>
                  <a:gd name="connsiteX12" fmla="*/ 186663 w 1110328"/>
                  <a:gd name="connsiteY12" fmla="*/ 2189822 h 2198889"/>
                  <a:gd name="connsiteX13" fmla="*/ 164483 w 1110328"/>
                  <a:gd name="connsiteY13" fmla="*/ 2189822 h 2198889"/>
                  <a:gd name="connsiteX14" fmla="*/ 104210 w 1110328"/>
                  <a:gd name="connsiteY14" fmla="*/ 2189822 h 2198889"/>
                  <a:gd name="connsiteX15" fmla="*/ 49224 w 1110328"/>
                  <a:gd name="connsiteY15" fmla="*/ 2156567 h 2198889"/>
                  <a:gd name="connsiteX16" fmla="*/ 27494 w 1110328"/>
                  <a:gd name="connsiteY16" fmla="*/ 2096213 h 2198889"/>
                  <a:gd name="connsiteX17" fmla="*/ 0 w 1110328"/>
                  <a:gd name="connsiteY17" fmla="*/ 2019471 h 2198889"/>
                  <a:gd name="connsiteX18" fmla="*/ 32808 w 1110328"/>
                  <a:gd name="connsiteY18" fmla="*/ 1931625 h 2198889"/>
                  <a:gd name="connsiteX19" fmla="*/ 109525 w 1110328"/>
                  <a:gd name="connsiteY19" fmla="*/ 1904106 h 2198889"/>
                  <a:gd name="connsiteX20" fmla="*/ 356909 w 1110328"/>
                  <a:gd name="connsiteY20" fmla="*/ 1810498 h 2198889"/>
                  <a:gd name="connsiteX21" fmla="*/ 751967 w 1110328"/>
                  <a:gd name="connsiteY21" fmla="*/ 1569139 h 2198889"/>
                  <a:gd name="connsiteX22" fmla="*/ 785220 w 1110328"/>
                  <a:gd name="connsiteY22" fmla="*/ 1035855 h 2198889"/>
                  <a:gd name="connsiteX23" fmla="*/ 214156 w 1110328"/>
                  <a:gd name="connsiteY23" fmla="*/ 1035855 h 2198889"/>
                  <a:gd name="connsiteX24" fmla="*/ 126363 w 1110328"/>
                  <a:gd name="connsiteY24" fmla="*/ 1035855 h 2198889"/>
                  <a:gd name="connsiteX25" fmla="*/ 60301 w 1110328"/>
                  <a:gd name="connsiteY25" fmla="*/ 970214 h 2198889"/>
                  <a:gd name="connsiteX26" fmla="*/ 60301 w 1110328"/>
                  <a:gd name="connsiteY26" fmla="*/ 882368 h 2198889"/>
                  <a:gd name="connsiteX27" fmla="*/ 60301 w 1110328"/>
                  <a:gd name="connsiteY27" fmla="*/ 168499 h 2198889"/>
                  <a:gd name="connsiteX28" fmla="*/ 60301 w 1110328"/>
                  <a:gd name="connsiteY28" fmla="*/ 80654 h 2198889"/>
                  <a:gd name="connsiteX29" fmla="*/ 126363 w 1110328"/>
                  <a:gd name="connsiteY29" fmla="*/ 9224 h 2198889"/>
                  <a:gd name="connsiteX30" fmla="*/ 214156 w 1110328"/>
                  <a:gd name="connsiteY30" fmla="*/ 9224 h 2198889"/>
                  <a:gd name="connsiteX0" fmla="*/ 214156 w 1110328"/>
                  <a:gd name="connsiteY0" fmla="*/ 5292 h 2194957"/>
                  <a:gd name="connsiteX1" fmla="*/ 927552 w 1110328"/>
                  <a:gd name="connsiteY1" fmla="*/ 5292 h 2194957"/>
                  <a:gd name="connsiteX2" fmla="*/ 1015319 w 1110328"/>
                  <a:gd name="connsiteY2" fmla="*/ 5292 h 2194957"/>
                  <a:gd name="connsiteX3" fmla="*/ 1087143 w 1110328"/>
                  <a:gd name="connsiteY3" fmla="*/ 76722 h 2194957"/>
                  <a:gd name="connsiteX4" fmla="*/ 1087143 w 1110328"/>
                  <a:gd name="connsiteY4" fmla="*/ 164567 h 2194957"/>
                  <a:gd name="connsiteX5" fmla="*/ 1087143 w 1110328"/>
                  <a:gd name="connsiteY5" fmla="*/ 680566 h 2194957"/>
                  <a:gd name="connsiteX6" fmla="*/ 1087143 w 1110328"/>
                  <a:gd name="connsiteY6" fmla="*/ 702297 h 2194957"/>
                  <a:gd name="connsiteX7" fmla="*/ 1087143 w 1110328"/>
                  <a:gd name="connsiteY7" fmla="*/ 960494 h 2194957"/>
                  <a:gd name="connsiteX8" fmla="*/ 1087143 w 1110328"/>
                  <a:gd name="connsiteY8" fmla="*/ 1515536 h 2194957"/>
                  <a:gd name="connsiteX9" fmla="*/ 774143 w 1110328"/>
                  <a:gd name="connsiteY9" fmla="*/ 1960527 h 2194957"/>
                  <a:gd name="connsiteX10" fmla="*/ 219469 w 1110328"/>
                  <a:gd name="connsiteY10" fmla="*/ 2174814 h 2194957"/>
                  <a:gd name="connsiteX11" fmla="*/ 203080 w 1110328"/>
                  <a:gd name="connsiteY11" fmla="*/ 2185890 h 2194957"/>
                  <a:gd name="connsiteX12" fmla="*/ 186663 w 1110328"/>
                  <a:gd name="connsiteY12" fmla="*/ 2185890 h 2194957"/>
                  <a:gd name="connsiteX13" fmla="*/ 164483 w 1110328"/>
                  <a:gd name="connsiteY13" fmla="*/ 2185890 h 2194957"/>
                  <a:gd name="connsiteX14" fmla="*/ 104210 w 1110328"/>
                  <a:gd name="connsiteY14" fmla="*/ 2185890 h 2194957"/>
                  <a:gd name="connsiteX15" fmla="*/ 49224 w 1110328"/>
                  <a:gd name="connsiteY15" fmla="*/ 2152635 h 2194957"/>
                  <a:gd name="connsiteX16" fmla="*/ 27494 w 1110328"/>
                  <a:gd name="connsiteY16" fmla="*/ 2092281 h 2194957"/>
                  <a:gd name="connsiteX17" fmla="*/ 0 w 1110328"/>
                  <a:gd name="connsiteY17" fmla="*/ 2015539 h 2194957"/>
                  <a:gd name="connsiteX18" fmla="*/ 32808 w 1110328"/>
                  <a:gd name="connsiteY18" fmla="*/ 1927693 h 2194957"/>
                  <a:gd name="connsiteX19" fmla="*/ 109525 w 1110328"/>
                  <a:gd name="connsiteY19" fmla="*/ 1900174 h 2194957"/>
                  <a:gd name="connsiteX20" fmla="*/ 356909 w 1110328"/>
                  <a:gd name="connsiteY20" fmla="*/ 1806566 h 2194957"/>
                  <a:gd name="connsiteX21" fmla="*/ 751967 w 1110328"/>
                  <a:gd name="connsiteY21" fmla="*/ 1565207 h 2194957"/>
                  <a:gd name="connsiteX22" fmla="*/ 785220 w 1110328"/>
                  <a:gd name="connsiteY22" fmla="*/ 1031923 h 2194957"/>
                  <a:gd name="connsiteX23" fmla="*/ 214156 w 1110328"/>
                  <a:gd name="connsiteY23" fmla="*/ 1031923 h 2194957"/>
                  <a:gd name="connsiteX24" fmla="*/ 126363 w 1110328"/>
                  <a:gd name="connsiteY24" fmla="*/ 1031923 h 2194957"/>
                  <a:gd name="connsiteX25" fmla="*/ 60301 w 1110328"/>
                  <a:gd name="connsiteY25" fmla="*/ 966282 h 2194957"/>
                  <a:gd name="connsiteX26" fmla="*/ 60301 w 1110328"/>
                  <a:gd name="connsiteY26" fmla="*/ 878436 h 2194957"/>
                  <a:gd name="connsiteX27" fmla="*/ 60301 w 1110328"/>
                  <a:gd name="connsiteY27" fmla="*/ 164567 h 2194957"/>
                  <a:gd name="connsiteX28" fmla="*/ 60301 w 1110328"/>
                  <a:gd name="connsiteY28" fmla="*/ 76722 h 2194957"/>
                  <a:gd name="connsiteX29" fmla="*/ 126363 w 1110328"/>
                  <a:gd name="connsiteY29" fmla="*/ 5292 h 2194957"/>
                  <a:gd name="connsiteX30" fmla="*/ 214156 w 1110328"/>
                  <a:gd name="connsiteY30" fmla="*/ 5292 h 2194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110328" h="2194957">
                    <a:moveTo>
                      <a:pt x="214156" y="5292"/>
                    </a:moveTo>
                    <a:lnTo>
                      <a:pt x="927552" y="5292"/>
                    </a:lnTo>
                    <a:cubicBezTo>
                      <a:pt x="1061079" y="5292"/>
                      <a:pt x="988721" y="-6613"/>
                      <a:pt x="1015319" y="5292"/>
                    </a:cubicBezTo>
                    <a:cubicBezTo>
                      <a:pt x="1041917" y="17197"/>
                      <a:pt x="1087143" y="47602"/>
                      <a:pt x="1087143" y="76722"/>
                    </a:cubicBezTo>
                    <a:lnTo>
                      <a:pt x="1087143" y="164567"/>
                    </a:lnTo>
                    <a:lnTo>
                      <a:pt x="1087143" y="680566"/>
                    </a:lnTo>
                    <a:lnTo>
                      <a:pt x="1087143" y="702297"/>
                    </a:lnTo>
                    <a:lnTo>
                      <a:pt x="1087143" y="960494"/>
                    </a:lnTo>
                    <a:cubicBezTo>
                      <a:pt x="1087143" y="1096034"/>
                      <a:pt x="1139310" y="1348864"/>
                      <a:pt x="1087143" y="1515536"/>
                    </a:cubicBezTo>
                    <a:cubicBezTo>
                      <a:pt x="1034976" y="1682208"/>
                      <a:pt x="943561" y="1895076"/>
                      <a:pt x="774143" y="1960527"/>
                    </a:cubicBezTo>
                    <a:lnTo>
                      <a:pt x="219469" y="2174814"/>
                    </a:lnTo>
                    <a:cubicBezTo>
                      <a:pt x="124292" y="2212375"/>
                      <a:pt x="208851" y="2185890"/>
                      <a:pt x="203080" y="2185890"/>
                    </a:cubicBezTo>
                    <a:lnTo>
                      <a:pt x="186663" y="2185890"/>
                    </a:lnTo>
                    <a:lnTo>
                      <a:pt x="164483" y="2185890"/>
                    </a:lnTo>
                    <a:cubicBezTo>
                      <a:pt x="150741" y="2185890"/>
                      <a:pt x="121318" y="2196237"/>
                      <a:pt x="104210" y="2185890"/>
                    </a:cubicBezTo>
                    <a:lnTo>
                      <a:pt x="49224" y="2152635"/>
                    </a:lnTo>
                    <a:cubicBezTo>
                      <a:pt x="36438" y="2137034"/>
                      <a:pt x="35682" y="2115136"/>
                      <a:pt x="27494" y="2092281"/>
                    </a:cubicBezTo>
                    <a:lnTo>
                      <a:pt x="0" y="2015539"/>
                    </a:lnTo>
                    <a:cubicBezTo>
                      <a:pt x="886" y="1988108"/>
                      <a:pt x="7853" y="1936645"/>
                      <a:pt x="32808" y="1927693"/>
                    </a:cubicBezTo>
                    <a:lnTo>
                      <a:pt x="109525" y="1900174"/>
                    </a:lnTo>
                    <a:cubicBezTo>
                      <a:pt x="163542" y="1879986"/>
                      <a:pt x="253864" y="1869521"/>
                      <a:pt x="356909" y="1806566"/>
                    </a:cubicBezTo>
                    <a:lnTo>
                      <a:pt x="751967" y="1565207"/>
                    </a:lnTo>
                    <a:cubicBezTo>
                      <a:pt x="823352" y="1436100"/>
                      <a:pt x="911451" y="1031923"/>
                      <a:pt x="785220" y="1031923"/>
                    </a:cubicBezTo>
                    <a:lnTo>
                      <a:pt x="214156" y="1031923"/>
                    </a:lnTo>
                    <a:cubicBezTo>
                      <a:pt x="104347" y="1031923"/>
                      <a:pt x="152006" y="1042863"/>
                      <a:pt x="126363" y="1031923"/>
                    </a:cubicBezTo>
                    <a:cubicBezTo>
                      <a:pt x="100721" y="1020983"/>
                      <a:pt x="60301" y="994132"/>
                      <a:pt x="60301" y="966282"/>
                    </a:cubicBezTo>
                    <a:lnTo>
                      <a:pt x="60301" y="878436"/>
                    </a:lnTo>
                    <a:lnTo>
                      <a:pt x="60301" y="164567"/>
                    </a:lnTo>
                    <a:cubicBezTo>
                      <a:pt x="60301" y="30948"/>
                      <a:pt x="40788" y="97820"/>
                      <a:pt x="60301" y="76722"/>
                    </a:cubicBezTo>
                    <a:lnTo>
                      <a:pt x="126363" y="5292"/>
                    </a:lnTo>
                    <a:cubicBezTo>
                      <a:pt x="152005" y="-6613"/>
                      <a:pt x="80625" y="5292"/>
                      <a:pt x="214156" y="5292"/>
                    </a:cubicBezTo>
                    <a:close/>
                  </a:path>
                </a:pathLst>
              </a:custGeom>
              <a:grpFill/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400"/>
                  </a:spcBef>
                  <a:spcAft>
                    <a:spcPts val="400"/>
                  </a:spcAft>
                </a:pPr>
                <a:endParaRPr lang="en-US" sz="21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09CC0805-2B6C-45D5-A518-5FA426180BD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283146" y="4018207"/>
                <a:ext cx="1110328" cy="2194957"/>
              </a:xfrm>
              <a:custGeom>
                <a:avLst/>
                <a:gdLst>
                  <a:gd name="connsiteX0" fmla="*/ 214156 w 1087143"/>
                  <a:gd name="connsiteY0" fmla="*/ 0 h 2180598"/>
                  <a:gd name="connsiteX1" fmla="*/ 927552 w 1087143"/>
                  <a:gd name="connsiteY1" fmla="*/ 0 h 2180598"/>
                  <a:gd name="connsiteX2" fmla="*/ 1015319 w 1087143"/>
                  <a:gd name="connsiteY2" fmla="*/ 0 h 2180598"/>
                  <a:gd name="connsiteX3" fmla="*/ 1087143 w 1087143"/>
                  <a:gd name="connsiteY3" fmla="*/ 71430 h 2180598"/>
                  <a:gd name="connsiteX4" fmla="*/ 1087143 w 1087143"/>
                  <a:gd name="connsiteY4" fmla="*/ 159275 h 2180598"/>
                  <a:gd name="connsiteX5" fmla="*/ 1087143 w 1087143"/>
                  <a:gd name="connsiteY5" fmla="*/ 675274 h 2180598"/>
                  <a:gd name="connsiteX6" fmla="*/ 1087143 w 1087143"/>
                  <a:gd name="connsiteY6" fmla="*/ 697005 h 2180598"/>
                  <a:gd name="connsiteX7" fmla="*/ 1087143 w 1087143"/>
                  <a:gd name="connsiteY7" fmla="*/ 955202 h 2180598"/>
                  <a:gd name="connsiteX8" fmla="*/ 1087143 w 1087143"/>
                  <a:gd name="connsiteY8" fmla="*/ 1510244 h 2180598"/>
                  <a:gd name="connsiteX9" fmla="*/ 774143 w 1087143"/>
                  <a:gd name="connsiteY9" fmla="*/ 1955235 h 2180598"/>
                  <a:gd name="connsiteX10" fmla="*/ 219469 w 1087143"/>
                  <a:gd name="connsiteY10" fmla="*/ 2169522 h 2180598"/>
                  <a:gd name="connsiteX11" fmla="*/ 203080 w 1087143"/>
                  <a:gd name="connsiteY11" fmla="*/ 2180598 h 2180598"/>
                  <a:gd name="connsiteX12" fmla="*/ 186663 w 1087143"/>
                  <a:gd name="connsiteY12" fmla="*/ 2180598 h 2180598"/>
                  <a:gd name="connsiteX13" fmla="*/ 164483 w 1087143"/>
                  <a:gd name="connsiteY13" fmla="*/ 2180598 h 2180598"/>
                  <a:gd name="connsiteX14" fmla="*/ 104210 w 1087143"/>
                  <a:gd name="connsiteY14" fmla="*/ 2180598 h 2180598"/>
                  <a:gd name="connsiteX15" fmla="*/ 49224 w 1087143"/>
                  <a:gd name="connsiteY15" fmla="*/ 2147343 h 2180598"/>
                  <a:gd name="connsiteX16" fmla="*/ 27494 w 1087143"/>
                  <a:gd name="connsiteY16" fmla="*/ 2086989 h 2180598"/>
                  <a:gd name="connsiteX17" fmla="*/ 0 w 1087143"/>
                  <a:gd name="connsiteY17" fmla="*/ 2010247 h 2180598"/>
                  <a:gd name="connsiteX18" fmla="*/ 32808 w 1087143"/>
                  <a:gd name="connsiteY18" fmla="*/ 1922401 h 2180598"/>
                  <a:gd name="connsiteX19" fmla="*/ 109525 w 1087143"/>
                  <a:gd name="connsiteY19" fmla="*/ 1894882 h 2180598"/>
                  <a:gd name="connsiteX20" fmla="*/ 356909 w 1087143"/>
                  <a:gd name="connsiteY20" fmla="*/ 1801274 h 2180598"/>
                  <a:gd name="connsiteX21" fmla="*/ 751967 w 1087143"/>
                  <a:gd name="connsiteY21" fmla="*/ 1559915 h 2180598"/>
                  <a:gd name="connsiteX22" fmla="*/ 785220 w 1087143"/>
                  <a:gd name="connsiteY22" fmla="*/ 1026631 h 2180598"/>
                  <a:gd name="connsiteX23" fmla="*/ 214156 w 1087143"/>
                  <a:gd name="connsiteY23" fmla="*/ 1026631 h 2180598"/>
                  <a:gd name="connsiteX24" fmla="*/ 126363 w 1087143"/>
                  <a:gd name="connsiteY24" fmla="*/ 1026631 h 2180598"/>
                  <a:gd name="connsiteX25" fmla="*/ 60301 w 1087143"/>
                  <a:gd name="connsiteY25" fmla="*/ 960990 h 2180598"/>
                  <a:gd name="connsiteX26" fmla="*/ 60301 w 1087143"/>
                  <a:gd name="connsiteY26" fmla="*/ 873144 h 2180598"/>
                  <a:gd name="connsiteX27" fmla="*/ 60301 w 1087143"/>
                  <a:gd name="connsiteY27" fmla="*/ 159275 h 2180598"/>
                  <a:gd name="connsiteX28" fmla="*/ 60301 w 1087143"/>
                  <a:gd name="connsiteY28" fmla="*/ 71430 h 2180598"/>
                  <a:gd name="connsiteX29" fmla="*/ 126363 w 1087143"/>
                  <a:gd name="connsiteY29" fmla="*/ 0 h 2180598"/>
                  <a:gd name="connsiteX30" fmla="*/ 214156 w 1087143"/>
                  <a:gd name="connsiteY30" fmla="*/ 0 h 2180598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110328"/>
                  <a:gd name="connsiteY0" fmla="*/ 5291 h 2185889"/>
                  <a:gd name="connsiteX1" fmla="*/ 927552 w 1110328"/>
                  <a:gd name="connsiteY1" fmla="*/ 5291 h 2185889"/>
                  <a:gd name="connsiteX2" fmla="*/ 1015319 w 1110328"/>
                  <a:gd name="connsiteY2" fmla="*/ 5291 h 2185889"/>
                  <a:gd name="connsiteX3" fmla="*/ 1087143 w 1110328"/>
                  <a:gd name="connsiteY3" fmla="*/ 76721 h 2185889"/>
                  <a:gd name="connsiteX4" fmla="*/ 1087143 w 1110328"/>
                  <a:gd name="connsiteY4" fmla="*/ 164566 h 2185889"/>
                  <a:gd name="connsiteX5" fmla="*/ 1087143 w 1110328"/>
                  <a:gd name="connsiteY5" fmla="*/ 680565 h 2185889"/>
                  <a:gd name="connsiteX6" fmla="*/ 1087143 w 1110328"/>
                  <a:gd name="connsiteY6" fmla="*/ 702296 h 2185889"/>
                  <a:gd name="connsiteX7" fmla="*/ 1087143 w 1110328"/>
                  <a:gd name="connsiteY7" fmla="*/ 960493 h 2185889"/>
                  <a:gd name="connsiteX8" fmla="*/ 1087143 w 1110328"/>
                  <a:gd name="connsiteY8" fmla="*/ 1515535 h 2185889"/>
                  <a:gd name="connsiteX9" fmla="*/ 774143 w 1110328"/>
                  <a:gd name="connsiteY9" fmla="*/ 1960526 h 2185889"/>
                  <a:gd name="connsiteX10" fmla="*/ 219469 w 1110328"/>
                  <a:gd name="connsiteY10" fmla="*/ 2174813 h 2185889"/>
                  <a:gd name="connsiteX11" fmla="*/ 203080 w 1110328"/>
                  <a:gd name="connsiteY11" fmla="*/ 2185889 h 2185889"/>
                  <a:gd name="connsiteX12" fmla="*/ 186663 w 1110328"/>
                  <a:gd name="connsiteY12" fmla="*/ 2185889 h 2185889"/>
                  <a:gd name="connsiteX13" fmla="*/ 164483 w 1110328"/>
                  <a:gd name="connsiteY13" fmla="*/ 2185889 h 2185889"/>
                  <a:gd name="connsiteX14" fmla="*/ 104210 w 1110328"/>
                  <a:gd name="connsiteY14" fmla="*/ 2185889 h 2185889"/>
                  <a:gd name="connsiteX15" fmla="*/ 49224 w 1110328"/>
                  <a:gd name="connsiteY15" fmla="*/ 2152634 h 2185889"/>
                  <a:gd name="connsiteX16" fmla="*/ 27494 w 1110328"/>
                  <a:gd name="connsiteY16" fmla="*/ 2092280 h 2185889"/>
                  <a:gd name="connsiteX17" fmla="*/ 0 w 1110328"/>
                  <a:gd name="connsiteY17" fmla="*/ 2015538 h 2185889"/>
                  <a:gd name="connsiteX18" fmla="*/ 32808 w 1110328"/>
                  <a:gd name="connsiteY18" fmla="*/ 1927692 h 2185889"/>
                  <a:gd name="connsiteX19" fmla="*/ 109525 w 1110328"/>
                  <a:gd name="connsiteY19" fmla="*/ 1900173 h 2185889"/>
                  <a:gd name="connsiteX20" fmla="*/ 356909 w 1110328"/>
                  <a:gd name="connsiteY20" fmla="*/ 1806565 h 2185889"/>
                  <a:gd name="connsiteX21" fmla="*/ 751967 w 1110328"/>
                  <a:gd name="connsiteY21" fmla="*/ 1565206 h 2185889"/>
                  <a:gd name="connsiteX22" fmla="*/ 785220 w 1110328"/>
                  <a:gd name="connsiteY22" fmla="*/ 1031922 h 2185889"/>
                  <a:gd name="connsiteX23" fmla="*/ 214156 w 1110328"/>
                  <a:gd name="connsiteY23" fmla="*/ 1031922 h 2185889"/>
                  <a:gd name="connsiteX24" fmla="*/ 126363 w 1110328"/>
                  <a:gd name="connsiteY24" fmla="*/ 1031922 h 2185889"/>
                  <a:gd name="connsiteX25" fmla="*/ 60301 w 1110328"/>
                  <a:gd name="connsiteY25" fmla="*/ 966281 h 2185889"/>
                  <a:gd name="connsiteX26" fmla="*/ 60301 w 1110328"/>
                  <a:gd name="connsiteY26" fmla="*/ 878435 h 2185889"/>
                  <a:gd name="connsiteX27" fmla="*/ 60301 w 1110328"/>
                  <a:gd name="connsiteY27" fmla="*/ 164566 h 2185889"/>
                  <a:gd name="connsiteX28" fmla="*/ 60301 w 1110328"/>
                  <a:gd name="connsiteY28" fmla="*/ 76721 h 2185889"/>
                  <a:gd name="connsiteX29" fmla="*/ 126363 w 1110328"/>
                  <a:gd name="connsiteY29" fmla="*/ 5291 h 2185889"/>
                  <a:gd name="connsiteX30" fmla="*/ 214156 w 1110328"/>
                  <a:gd name="connsiteY30" fmla="*/ 5291 h 2185889"/>
                  <a:gd name="connsiteX0" fmla="*/ 214156 w 1110328"/>
                  <a:gd name="connsiteY0" fmla="*/ 5291 h 2185889"/>
                  <a:gd name="connsiteX1" fmla="*/ 927552 w 1110328"/>
                  <a:gd name="connsiteY1" fmla="*/ 5291 h 2185889"/>
                  <a:gd name="connsiteX2" fmla="*/ 1015319 w 1110328"/>
                  <a:gd name="connsiteY2" fmla="*/ 5291 h 2185889"/>
                  <a:gd name="connsiteX3" fmla="*/ 1087143 w 1110328"/>
                  <a:gd name="connsiteY3" fmla="*/ 76721 h 2185889"/>
                  <a:gd name="connsiteX4" fmla="*/ 1087143 w 1110328"/>
                  <a:gd name="connsiteY4" fmla="*/ 164566 h 2185889"/>
                  <a:gd name="connsiteX5" fmla="*/ 1087143 w 1110328"/>
                  <a:gd name="connsiteY5" fmla="*/ 680565 h 2185889"/>
                  <a:gd name="connsiteX6" fmla="*/ 1087143 w 1110328"/>
                  <a:gd name="connsiteY6" fmla="*/ 702296 h 2185889"/>
                  <a:gd name="connsiteX7" fmla="*/ 1087143 w 1110328"/>
                  <a:gd name="connsiteY7" fmla="*/ 960493 h 2185889"/>
                  <a:gd name="connsiteX8" fmla="*/ 1087143 w 1110328"/>
                  <a:gd name="connsiteY8" fmla="*/ 1515535 h 2185889"/>
                  <a:gd name="connsiteX9" fmla="*/ 774143 w 1110328"/>
                  <a:gd name="connsiteY9" fmla="*/ 1960526 h 2185889"/>
                  <a:gd name="connsiteX10" fmla="*/ 219469 w 1110328"/>
                  <a:gd name="connsiteY10" fmla="*/ 2174813 h 2185889"/>
                  <a:gd name="connsiteX11" fmla="*/ 203080 w 1110328"/>
                  <a:gd name="connsiteY11" fmla="*/ 2185889 h 2185889"/>
                  <a:gd name="connsiteX12" fmla="*/ 186663 w 1110328"/>
                  <a:gd name="connsiteY12" fmla="*/ 2185889 h 2185889"/>
                  <a:gd name="connsiteX13" fmla="*/ 164483 w 1110328"/>
                  <a:gd name="connsiteY13" fmla="*/ 2185889 h 2185889"/>
                  <a:gd name="connsiteX14" fmla="*/ 104210 w 1110328"/>
                  <a:gd name="connsiteY14" fmla="*/ 2185889 h 2185889"/>
                  <a:gd name="connsiteX15" fmla="*/ 49224 w 1110328"/>
                  <a:gd name="connsiteY15" fmla="*/ 2152634 h 2185889"/>
                  <a:gd name="connsiteX16" fmla="*/ 27494 w 1110328"/>
                  <a:gd name="connsiteY16" fmla="*/ 2092280 h 2185889"/>
                  <a:gd name="connsiteX17" fmla="*/ 0 w 1110328"/>
                  <a:gd name="connsiteY17" fmla="*/ 2015538 h 2185889"/>
                  <a:gd name="connsiteX18" fmla="*/ 32808 w 1110328"/>
                  <a:gd name="connsiteY18" fmla="*/ 1927692 h 2185889"/>
                  <a:gd name="connsiteX19" fmla="*/ 109525 w 1110328"/>
                  <a:gd name="connsiteY19" fmla="*/ 1900173 h 2185889"/>
                  <a:gd name="connsiteX20" fmla="*/ 356909 w 1110328"/>
                  <a:gd name="connsiteY20" fmla="*/ 1806565 h 2185889"/>
                  <a:gd name="connsiteX21" fmla="*/ 751967 w 1110328"/>
                  <a:gd name="connsiteY21" fmla="*/ 1565206 h 2185889"/>
                  <a:gd name="connsiteX22" fmla="*/ 785220 w 1110328"/>
                  <a:gd name="connsiteY22" fmla="*/ 1031922 h 2185889"/>
                  <a:gd name="connsiteX23" fmla="*/ 214156 w 1110328"/>
                  <a:gd name="connsiteY23" fmla="*/ 1031922 h 2185889"/>
                  <a:gd name="connsiteX24" fmla="*/ 126363 w 1110328"/>
                  <a:gd name="connsiteY24" fmla="*/ 1031922 h 2185889"/>
                  <a:gd name="connsiteX25" fmla="*/ 60301 w 1110328"/>
                  <a:gd name="connsiteY25" fmla="*/ 966281 h 2185889"/>
                  <a:gd name="connsiteX26" fmla="*/ 60301 w 1110328"/>
                  <a:gd name="connsiteY26" fmla="*/ 878435 h 2185889"/>
                  <a:gd name="connsiteX27" fmla="*/ 60301 w 1110328"/>
                  <a:gd name="connsiteY27" fmla="*/ 164566 h 2185889"/>
                  <a:gd name="connsiteX28" fmla="*/ 60301 w 1110328"/>
                  <a:gd name="connsiteY28" fmla="*/ 76721 h 2185889"/>
                  <a:gd name="connsiteX29" fmla="*/ 126363 w 1110328"/>
                  <a:gd name="connsiteY29" fmla="*/ 5291 h 2185889"/>
                  <a:gd name="connsiteX30" fmla="*/ 214156 w 1110328"/>
                  <a:gd name="connsiteY30" fmla="*/ 5291 h 2185889"/>
                  <a:gd name="connsiteX0" fmla="*/ 214156 w 1110328"/>
                  <a:gd name="connsiteY0" fmla="*/ 5291 h 2194111"/>
                  <a:gd name="connsiteX1" fmla="*/ 927552 w 1110328"/>
                  <a:gd name="connsiteY1" fmla="*/ 5291 h 2194111"/>
                  <a:gd name="connsiteX2" fmla="*/ 1015319 w 1110328"/>
                  <a:gd name="connsiteY2" fmla="*/ 5291 h 2194111"/>
                  <a:gd name="connsiteX3" fmla="*/ 1087143 w 1110328"/>
                  <a:gd name="connsiteY3" fmla="*/ 76721 h 2194111"/>
                  <a:gd name="connsiteX4" fmla="*/ 1087143 w 1110328"/>
                  <a:gd name="connsiteY4" fmla="*/ 164566 h 2194111"/>
                  <a:gd name="connsiteX5" fmla="*/ 1087143 w 1110328"/>
                  <a:gd name="connsiteY5" fmla="*/ 680565 h 2194111"/>
                  <a:gd name="connsiteX6" fmla="*/ 1087143 w 1110328"/>
                  <a:gd name="connsiteY6" fmla="*/ 702296 h 2194111"/>
                  <a:gd name="connsiteX7" fmla="*/ 1087143 w 1110328"/>
                  <a:gd name="connsiteY7" fmla="*/ 960493 h 2194111"/>
                  <a:gd name="connsiteX8" fmla="*/ 1087143 w 1110328"/>
                  <a:gd name="connsiteY8" fmla="*/ 1515535 h 2194111"/>
                  <a:gd name="connsiteX9" fmla="*/ 774143 w 1110328"/>
                  <a:gd name="connsiteY9" fmla="*/ 1960526 h 2194111"/>
                  <a:gd name="connsiteX10" fmla="*/ 219469 w 1110328"/>
                  <a:gd name="connsiteY10" fmla="*/ 2174813 h 2194111"/>
                  <a:gd name="connsiteX11" fmla="*/ 203080 w 1110328"/>
                  <a:gd name="connsiteY11" fmla="*/ 2185889 h 2194111"/>
                  <a:gd name="connsiteX12" fmla="*/ 186663 w 1110328"/>
                  <a:gd name="connsiteY12" fmla="*/ 2185889 h 2194111"/>
                  <a:gd name="connsiteX13" fmla="*/ 164483 w 1110328"/>
                  <a:gd name="connsiteY13" fmla="*/ 2185889 h 2194111"/>
                  <a:gd name="connsiteX14" fmla="*/ 104210 w 1110328"/>
                  <a:gd name="connsiteY14" fmla="*/ 2185889 h 2194111"/>
                  <a:gd name="connsiteX15" fmla="*/ 49224 w 1110328"/>
                  <a:gd name="connsiteY15" fmla="*/ 2152634 h 2194111"/>
                  <a:gd name="connsiteX16" fmla="*/ 27494 w 1110328"/>
                  <a:gd name="connsiteY16" fmla="*/ 2092280 h 2194111"/>
                  <a:gd name="connsiteX17" fmla="*/ 0 w 1110328"/>
                  <a:gd name="connsiteY17" fmla="*/ 2015538 h 2194111"/>
                  <a:gd name="connsiteX18" fmla="*/ 32808 w 1110328"/>
                  <a:gd name="connsiteY18" fmla="*/ 1927692 h 2194111"/>
                  <a:gd name="connsiteX19" fmla="*/ 109525 w 1110328"/>
                  <a:gd name="connsiteY19" fmla="*/ 1900173 h 2194111"/>
                  <a:gd name="connsiteX20" fmla="*/ 356909 w 1110328"/>
                  <a:gd name="connsiteY20" fmla="*/ 1806565 h 2194111"/>
                  <a:gd name="connsiteX21" fmla="*/ 751967 w 1110328"/>
                  <a:gd name="connsiteY21" fmla="*/ 1565206 h 2194111"/>
                  <a:gd name="connsiteX22" fmla="*/ 785220 w 1110328"/>
                  <a:gd name="connsiteY22" fmla="*/ 1031922 h 2194111"/>
                  <a:gd name="connsiteX23" fmla="*/ 214156 w 1110328"/>
                  <a:gd name="connsiteY23" fmla="*/ 1031922 h 2194111"/>
                  <a:gd name="connsiteX24" fmla="*/ 126363 w 1110328"/>
                  <a:gd name="connsiteY24" fmla="*/ 1031922 h 2194111"/>
                  <a:gd name="connsiteX25" fmla="*/ 60301 w 1110328"/>
                  <a:gd name="connsiteY25" fmla="*/ 966281 h 2194111"/>
                  <a:gd name="connsiteX26" fmla="*/ 60301 w 1110328"/>
                  <a:gd name="connsiteY26" fmla="*/ 878435 h 2194111"/>
                  <a:gd name="connsiteX27" fmla="*/ 60301 w 1110328"/>
                  <a:gd name="connsiteY27" fmla="*/ 164566 h 2194111"/>
                  <a:gd name="connsiteX28" fmla="*/ 60301 w 1110328"/>
                  <a:gd name="connsiteY28" fmla="*/ 76721 h 2194111"/>
                  <a:gd name="connsiteX29" fmla="*/ 126363 w 1110328"/>
                  <a:gd name="connsiteY29" fmla="*/ 5291 h 2194111"/>
                  <a:gd name="connsiteX30" fmla="*/ 214156 w 1110328"/>
                  <a:gd name="connsiteY30" fmla="*/ 5291 h 2194111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6221 w 1112393"/>
                  <a:gd name="connsiteY0" fmla="*/ 5291 h 2194956"/>
                  <a:gd name="connsiteX1" fmla="*/ 929617 w 1112393"/>
                  <a:gd name="connsiteY1" fmla="*/ 5291 h 2194956"/>
                  <a:gd name="connsiteX2" fmla="*/ 1017384 w 1112393"/>
                  <a:gd name="connsiteY2" fmla="*/ 5291 h 2194956"/>
                  <a:gd name="connsiteX3" fmla="*/ 1089208 w 1112393"/>
                  <a:gd name="connsiteY3" fmla="*/ 76721 h 2194956"/>
                  <a:gd name="connsiteX4" fmla="*/ 1089208 w 1112393"/>
                  <a:gd name="connsiteY4" fmla="*/ 164566 h 2194956"/>
                  <a:gd name="connsiteX5" fmla="*/ 1089208 w 1112393"/>
                  <a:gd name="connsiteY5" fmla="*/ 680565 h 2194956"/>
                  <a:gd name="connsiteX6" fmla="*/ 1089208 w 1112393"/>
                  <a:gd name="connsiteY6" fmla="*/ 702296 h 2194956"/>
                  <a:gd name="connsiteX7" fmla="*/ 1089208 w 1112393"/>
                  <a:gd name="connsiteY7" fmla="*/ 960493 h 2194956"/>
                  <a:gd name="connsiteX8" fmla="*/ 1089208 w 1112393"/>
                  <a:gd name="connsiteY8" fmla="*/ 1515535 h 2194956"/>
                  <a:gd name="connsiteX9" fmla="*/ 776208 w 1112393"/>
                  <a:gd name="connsiteY9" fmla="*/ 1960526 h 2194956"/>
                  <a:gd name="connsiteX10" fmla="*/ 221534 w 1112393"/>
                  <a:gd name="connsiteY10" fmla="*/ 2174813 h 2194956"/>
                  <a:gd name="connsiteX11" fmla="*/ 205145 w 1112393"/>
                  <a:gd name="connsiteY11" fmla="*/ 2185889 h 2194956"/>
                  <a:gd name="connsiteX12" fmla="*/ 188728 w 1112393"/>
                  <a:gd name="connsiteY12" fmla="*/ 2185889 h 2194956"/>
                  <a:gd name="connsiteX13" fmla="*/ 166548 w 1112393"/>
                  <a:gd name="connsiteY13" fmla="*/ 2185889 h 2194956"/>
                  <a:gd name="connsiteX14" fmla="*/ 106275 w 1112393"/>
                  <a:gd name="connsiteY14" fmla="*/ 2185889 h 2194956"/>
                  <a:gd name="connsiteX15" fmla="*/ 51289 w 1112393"/>
                  <a:gd name="connsiteY15" fmla="*/ 2152634 h 2194956"/>
                  <a:gd name="connsiteX16" fmla="*/ 29559 w 1112393"/>
                  <a:gd name="connsiteY16" fmla="*/ 2092280 h 2194956"/>
                  <a:gd name="connsiteX17" fmla="*/ 2065 w 1112393"/>
                  <a:gd name="connsiteY17" fmla="*/ 2015538 h 2194956"/>
                  <a:gd name="connsiteX18" fmla="*/ 34873 w 1112393"/>
                  <a:gd name="connsiteY18" fmla="*/ 1927692 h 2194956"/>
                  <a:gd name="connsiteX19" fmla="*/ 111590 w 1112393"/>
                  <a:gd name="connsiteY19" fmla="*/ 1900173 h 2194956"/>
                  <a:gd name="connsiteX20" fmla="*/ 358974 w 1112393"/>
                  <a:gd name="connsiteY20" fmla="*/ 1806565 h 2194956"/>
                  <a:gd name="connsiteX21" fmla="*/ 754032 w 1112393"/>
                  <a:gd name="connsiteY21" fmla="*/ 1565206 h 2194956"/>
                  <a:gd name="connsiteX22" fmla="*/ 787285 w 1112393"/>
                  <a:gd name="connsiteY22" fmla="*/ 1031922 h 2194956"/>
                  <a:gd name="connsiteX23" fmla="*/ 216221 w 1112393"/>
                  <a:gd name="connsiteY23" fmla="*/ 1031922 h 2194956"/>
                  <a:gd name="connsiteX24" fmla="*/ 128428 w 1112393"/>
                  <a:gd name="connsiteY24" fmla="*/ 1031922 h 2194956"/>
                  <a:gd name="connsiteX25" fmla="*/ 62366 w 1112393"/>
                  <a:gd name="connsiteY25" fmla="*/ 966281 h 2194956"/>
                  <a:gd name="connsiteX26" fmla="*/ 62366 w 1112393"/>
                  <a:gd name="connsiteY26" fmla="*/ 878435 h 2194956"/>
                  <a:gd name="connsiteX27" fmla="*/ 62366 w 1112393"/>
                  <a:gd name="connsiteY27" fmla="*/ 164566 h 2194956"/>
                  <a:gd name="connsiteX28" fmla="*/ 62366 w 1112393"/>
                  <a:gd name="connsiteY28" fmla="*/ 76721 h 2194956"/>
                  <a:gd name="connsiteX29" fmla="*/ 128428 w 1112393"/>
                  <a:gd name="connsiteY29" fmla="*/ 5291 h 2194956"/>
                  <a:gd name="connsiteX30" fmla="*/ 216221 w 1112393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9224 h 2198889"/>
                  <a:gd name="connsiteX1" fmla="*/ 927552 w 1110328"/>
                  <a:gd name="connsiteY1" fmla="*/ 9224 h 2198889"/>
                  <a:gd name="connsiteX2" fmla="*/ 1015319 w 1110328"/>
                  <a:gd name="connsiteY2" fmla="*/ 9224 h 2198889"/>
                  <a:gd name="connsiteX3" fmla="*/ 1087143 w 1110328"/>
                  <a:gd name="connsiteY3" fmla="*/ 80654 h 2198889"/>
                  <a:gd name="connsiteX4" fmla="*/ 1087143 w 1110328"/>
                  <a:gd name="connsiteY4" fmla="*/ 168499 h 2198889"/>
                  <a:gd name="connsiteX5" fmla="*/ 1087143 w 1110328"/>
                  <a:gd name="connsiteY5" fmla="*/ 684498 h 2198889"/>
                  <a:gd name="connsiteX6" fmla="*/ 1087143 w 1110328"/>
                  <a:gd name="connsiteY6" fmla="*/ 706229 h 2198889"/>
                  <a:gd name="connsiteX7" fmla="*/ 1087143 w 1110328"/>
                  <a:gd name="connsiteY7" fmla="*/ 964426 h 2198889"/>
                  <a:gd name="connsiteX8" fmla="*/ 1087143 w 1110328"/>
                  <a:gd name="connsiteY8" fmla="*/ 1519468 h 2198889"/>
                  <a:gd name="connsiteX9" fmla="*/ 774143 w 1110328"/>
                  <a:gd name="connsiteY9" fmla="*/ 1964459 h 2198889"/>
                  <a:gd name="connsiteX10" fmla="*/ 219469 w 1110328"/>
                  <a:gd name="connsiteY10" fmla="*/ 2178746 h 2198889"/>
                  <a:gd name="connsiteX11" fmla="*/ 203080 w 1110328"/>
                  <a:gd name="connsiteY11" fmla="*/ 2189822 h 2198889"/>
                  <a:gd name="connsiteX12" fmla="*/ 186663 w 1110328"/>
                  <a:gd name="connsiteY12" fmla="*/ 2189822 h 2198889"/>
                  <a:gd name="connsiteX13" fmla="*/ 164483 w 1110328"/>
                  <a:gd name="connsiteY13" fmla="*/ 2189822 h 2198889"/>
                  <a:gd name="connsiteX14" fmla="*/ 104210 w 1110328"/>
                  <a:gd name="connsiteY14" fmla="*/ 2189822 h 2198889"/>
                  <a:gd name="connsiteX15" fmla="*/ 49224 w 1110328"/>
                  <a:gd name="connsiteY15" fmla="*/ 2156567 h 2198889"/>
                  <a:gd name="connsiteX16" fmla="*/ 27494 w 1110328"/>
                  <a:gd name="connsiteY16" fmla="*/ 2096213 h 2198889"/>
                  <a:gd name="connsiteX17" fmla="*/ 0 w 1110328"/>
                  <a:gd name="connsiteY17" fmla="*/ 2019471 h 2198889"/>
                  <a:gd name="connsiteX18" fmla="*/ 32808 w 1110328"/>
                  <a:gd name="connsiteY18" fmla="*/ 1931625 h 2198889"/>
                  <a:gd name="connsiteX19" fmla="*/ 109525 w 1110328"/>
                  <a:gd name="connsiteY19" fmla="*/ 1904106 h 2198889"/>
                  <a:gd name="connsiteX20" fmla="*/ 356909 w 1110328"/>
                  <a:gd name="connsiteY20" fmla="*/ 1810498 h 2198889"/>
                  <a:gd name="connsiteX21" fmla="*/ 751967 w 1110328"/>
                  <a:gd name="connsiteY21" fmla="*/ 1569139 h 2198889"/>
                  <a:gd name="connsiteX22" fmla="*/ 785220 w 1110328"/>
                  <a:gd name="connsiteY22" fmla="*/ 1035855 h 2198889"/>
                  <a:gd name="connsiteX23" fmla="*/ 214156 w 1110328"/>
                  <a:gd name="connsiteY23" fmla="*/ 1035855 h 2198889"/>
                  <a:gd name="connsiteX24" fmla="*/ 126363 w 1110328"/>
                  <a:gd name="connsiteY24" fmla="*/ 1035855 h 2198889"/>
                  <a:gd name="connsiteX25" fmla="*/ 60301 w 1110328"/>
                  <a:gd name="connsiteY25" fmla="*/ 970214 h 2198889"/>
                  <a:gd name="connsiteX26" fmla="*/ 60301 w 1110328"/>
                  <a:gd name="connsiteY26" fmla="*/ 882368 h 2198889"/>
                  <a:gd name="connsiteX27" fmla="*/ 60301 w 1110328"/>
                  <a:gd name="connsiteY27" fmla="*/ 168499 h 2198889"/>
                  <a:gd name="connsiteX28" fmla="*/ 60301 w 1110328"/>
                  <a:gd name="connsiteY28" fmla="*/ 80654 h 2198889"/>
                  <a:gd name="connsiteX29" fmla="*/ 126363 w 1110328"/>
                  <a:gd name="connsiteY29" fmla="*/ 9224 h 2198889"/>
                  <a:gd name="connsiteX30" fmla="*/ 214156 w 1110328"/>
                  <a:gd name="connsiteY30" fmla="*/ 9224 h 2198889"/>
                  <a:gd name="connsiteX0" fmla="*/ 214156 w 1110328"/>
                  <a:gd name="connsiteY0" fmla="*/ 5292 h 2194957"/>
                  <a:gd name="connsiteX1" fmla="*/ 927552 w 1110328"/>
                  <a:gd name="connsiteY1" fmla="*/ 5292 h 2194957"/>
                  <a:gd name="connsiteX2" fmla="*/ 1015319 w 1110328"/>
                  <a:gd name="connsiteY2" fmla="*/ 5292 h 2194957"/>
                  <a:gd name="connsiteX3" fmla="*/ 1087143 w 1110328"/>
                  <a:gd name="connsiteY3" fmla="*/ 76722 h 2194957"/>
                  <a:gd name="connsiteX4" fmla="*/ 1087143 w 1110328"/>
                  <a:gd name="connsiteY4" fmla="*/ 164567 h 2194957"/>
                  <a:gd name="connsiteX5" fmla="*/ 1087143 w 1110328"/>
                  <a:gd name="connsiteY5" fmla="*/ 680566 h 2194957"/>
                  <a:gd name="connsiteX6" fmla="*/ 1087143 w 1110328"/>
                  <a:gd name="connsiteY6" fmla="*/ 702297 h 2194957"/>
                  <a:gd name="connsiteX7" fmla="*/ 1087143 w 1110328"/>
                  <a:gd name="connsiteY7" fmla="*/ 960494 h 2194957"/>
                  <a:gd name="connsiteX8" fmla="*/ 1087143 w 1110328"/>
                  <a:gd name="connsiteY8" fmla="*/ 1515536 h 2194957"/>
                  <a:gd name="connsiteX9" fmla="*/ 774143 w 1110328"/>
                  <a:gd name="connsiteY9" fmla="*/ 1960527 h 2194957"/>
                  <a:gd name="connsiteX10" fmla="*/ 219469 w 1110328"/>
                  <a:gd name="connsiteY10" fmla="*/ 2174814 h 2194957"/>
                  <a:gd name="connsiteX11" fmla="*/ 203080 w 1110328"/>
                  <a:gd name="connsiteY11" fmla="*/ 2185890 h 2194957"/>
                  <a:gd name="connsiteX12" fmla="*/ 186663 w 1110328"/>
                  <a:gd name="connsiteY12" fmla="*/ 2185890 h 2194957"/>
                  <a:gd name="connsiteX13" fmla="*/ 164483 w 1110328"/>
                  <a:gd name="connsiteY13" fmla="*/ 2185890 h 2194957"/>
                  <a:gd name="connsiteX14" fmla="*/ 104210 w 1110328"/>
                  <a:gd name="connsiteY14" fmla="*/ 2185890 h 2194957"/>
                  <a:gd name="connsiteX15" fmla="*/ 49224 w 1110328"/>
                  <a:gd name="connsiteY15" fmla="*/ 2152635 h 2194957"/>
                  <a:gd name="connsiteX16" fmla="*/ 27494 w 1110328"/>
                  <a:gd name="connsiteY16" fmla="*/ 2092281 h 2194957"/>
                  <a:gd name="connsiteX17" fmla="*/ 0 w 1110328"/>
                  <a:gd name="connsiteY17" fmla="*/ 2015539 h 2194957"/>
                  <a:gd name="connsiteX18" fmla="*/ 32808 w 1110328"/>
                  <a:gd name="connsiteY18" fmla="*/ 1927693 h 2194957"/>
                  <a:gd name="connsiteX19" fmla="*/ 109525 w 1110328"/>
                  <a:gd name="connsiteY19" fmla="*/ 1900174 h 2194957"/>
                  <a:gd name="connsiteX20" fmla="*/ 356909 w 1110328"/>
                  <a:gd name="connsiteY20" fmla="*/ 1806566 h 2194957"/>
                  <a:gd name="connsiteX21" fmla="*/ 751967 w 1110328"/>
                  <a:gd name="connsiteY21" fmla="*/ 1565207 h 2194957"/>
                  <a:gd name="connsiteX22" fmla="*/ 785220 w 1110328"/>
                  <a:gd name="connsiteY22" fmla="*/ 1031923 h 2194957"/>
                  <a:gd name="connsiteX23" fmla="*/ 214156 w 1110328"/>
                  <a:gd name="connsiteY23" fmla="*/ 1031923 h 2194957"/>
                  <a:gd name="connsiteX24" fmla="*/ 126363 w 1110328"/>
                  <a:gd name="connsiteY24" fmla="*/ 1031923 h 2194957"/>
                  <a:gd name="connsiteX25" fmla="*/ 60301 w 1110328"/>
                  <a:gd name="connsiteY25" fmla="*/ 966282 h 2194957"/>
                  <a:gd name="connsiteX26" fmla="*/ 60301 w 1110328"/>
                  <a:gd name="connsiteY26" fmla="*/ 878436 h 2194957"/>
                  <a:gd name="connsiteX27" fmla="*/ 60301 w 1110328"/>
                  <a:gd name="connsiteY27" fmla="*/ 164567 h 2194957"/>
                  <a:gd name="connsiteX28" fmla="*/ 60301 w 1110328"/>
                  <a:gd name="connsiteY28" fmla="*/ 76722 h 2194957"/>
                  <a:gd name="connsiteX29" fmla="*/ 126363 w 1110328"/>
                  <a:gd name="connsiteY29" fmla="*/ 5292 h 2194957"/>
                  <a:gd name="connsiteX30" fmla="*/ 214156 w 1110328"/>
                  <a:gd name="connsiteY30" fmla="*/ 5292 h 2194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110328" h="2194957">
                    <a:moveTo>
                      <a:pt x="214156" y="5292"/>
                    </a:moveTo>
                    <a:lnTo>
                      <a:pt x="927552" y="5292"/>
                    </a:lnTo>
                    <a:cubicBezTo>
                      <a:pt x="1061079" y="5292"/>
                      <a:pt x="988721" y="-6613"/>
                      <a:pt x="1015319" y="5292"/>
                    </a:cubicBezTo>
                    <a:cubicBezTo>
                      <a:pt x="1041917" y="17197"/>
                      <a:pt x="1087143" y="47602"/>
                      <a:pt x="1087143" y="76722"/>
                    </a:cubicBezTo>
                    <a:lnTo>
                      <a:pt x="1087143" y="164567"/>
                    </a:lnTo>
                    <a:lnTo>
                      <a:pt x="1087143" y="680566"/>
                    </a:lnTo>
                    <a:lnTo>
                      <a:pt x="1087143" y="702297"/>
                    </a:lnTo>
                    <a:lnTo>
                      <a:pt x="1087143" y="960494"/>
                    </a:lnTo>
                    <a:cubicBezTo>
                      <a:pt x="1087143" y="1096034"/>
                      <a:pt x="1139310" y="1348864"/>
                      <a:pt x="1087143" y="1515536"/>
                    </a:cubicBezTo>
                    <a:cubicBezTo>
                      <a:pt x="1034976" y="1682208"/>
                      <a:pt x="943561" y="1895076"/>
                      <a:pt x="774143" y="1960527"/>
                    </a:cubicBezTo>
                    <a:lnTo>
                      <a:pt x="219469" y="2174814"/>
                    </a:lnTo>
                    <a:cubicBezTo>
                      <a:pt x="124292" y="2212375"/>
                      <a:pt x="208851" y="2185890"/>
                      <a:pt x="203080" y="2185890"/>
                    </a:cubicBezTo>
                    <a:lnTo>
                      <a:pt x="186663" y="2185890"/>
                    </a:lnTo>
                    <a:lnTo>
                      <a:pt x="164483" y="2185890"/>
                    </a:lnTo>
                    <a:cubicBezTo>
                      <a:pt x="150741" y="2185890"/>
                      <a:pt x="121318" y="2196237"/>
                      <a:pt x="104210" y="2185890"/>
                    </a:cubicBezTo>
                    <a:lnTo>
                      <a:pt x="49224" y="2152635"/>
                    </a:lnTo>
                    <a:cubicBezTo>
                      <a:pt x="36438" y="2137034"/>
                      <a:pt x="35682" y="2115136"/>
                      <a:pt x="27494" y="2092281"/>
                    </a:cubicBezTo>
                    <a:lnTo>
                      <a:pt x="0" y="2015539"/>
                    </a:lnTo>
                    <a:cubicBezTo>
                      <a:pt x="886" y="1988108"/>
                      <a:pt x="7853" y="1936645"/>
                      <a:pt x="32808" y="1927693"/>
                    </a:cubicBezTo>
                    <a:lnTo>
                      <a:pt x="109525" y="1900174"/>
                    </a:lnTo>
                    <a:cubicBezTo>
                      <a:pt x="163542" y="1879986"/>
                      <a:pt x="253864" y="1869521"/>
                      <a:pt x="356909" y="1806566"/>
                    </a:cubicBezTo>
                    <a:lnTo>
                      <a:pt x="751967" y="1565207"/>
                    </a:lnTo>
                    <a:cubicBezTo>
                      <a:pt x="823352" y="1436100"/>
                      <a:pt x="911451" y="1031923"/>
                      <a:pt x="785220" y="1031923"/>
                    </a:cubicBezTo>
                    <a:lnTo>
                      <a:pt x="214156" y="1031923"/>
                    </a:lnTo>
                    <a:cubicBezTo>
                      <a:pt x="104347" y="1031923"/>
                      <a:pt x="152006" y="1042863"/>
                      <a:pt x="126363" y="1031923"/>
                    </a:cubicBezTo>
                    <a:cubicBezTo>
                      <a:pt x="100721" y="1020983"/>
                      <a:pt x="60301" y="994132"/>
                      <a:pt x="60301" y="966282"/>
                    </a:cubicBezTo>
                    <a:lnTo>
                      <a:pt x="60301" y="878436"/>
                    </a:lnTo>
                    <a:lnTo>
                      <a:pt x="60301" y="164567"/>
                    </a:lnTo>
                    <a:cubicBezTo>
                      <a:pt x="60301" y="30948"/>
                      <a:pt x="40788" y="97820"/>
                      <a:pt x="60301" y="76722"/>
                    </a:cubicBezTo>
                    <a:lnTo>
                      <a:pt x="126363" y="5292"/>
                    </a:lnTo>
                    <a:cubicBezTo>
                      <a:pt x="152005" y="-6613"/>
                      <a:pt x="80625" y="5292"/>
                      <a:pt x="214156" y="5292"/>
                    </a:cubicBezTo>
                    <a:close/>
                  </a:path>
                </a:pathLst>
              </a:custGeom>
              <a:grpFill/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400"/>
                  </a:spcBef>
                  <a:spcAft>
                    <a:spcPts val="400"/>
                  </a:spcAft>
                </a:pPr>
                <a:endParaRPr lang="en-US" sz="2133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8" name="Group 237">
              <a:extLst>
                <a:ext uri="{FF2B5EF4-FFF2-40B4-BE49-F238E27FC236}">
                  <a16:creationId xmlns:a16="http://schemas.microsoft.com/office/drawing/2014/main" id="{C53CA529-5A58-4AEE-A575-05AEEFA79F2D}"/>
                </a:ext>
              </a:extLst>
            </p:cNvPr>
            <p:cNvGrpSpPr/>
            <p:nvPr/>
          </p:nvGrpSpPr>
          <p:grpSpPr>
            <a:xfrm rot="10800000">
              <a:off x="1018198" y="1915826"/>
              <a:ext cx="2474656" cy="2194957"/>
              <a:chOff x="8918818" y="4018207"/>
              <a:chExt cx="2474656" cy="2194957"/>
            </a:xfrm>
            <a:grpFill/>
          </p:grpSpPr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C89B0AB9-A855-47E9-904E-E64DF7AE3C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18818" y="4018207"/>
                <a:ext cx="1110328" cy="2194957"/>
              </a:xfrm>
              <a:custGeom>
                <a:avLst/>
                <a:gdLst>
                  <a:gd name="connsiteX0" fmla="*/ 214156 w 1087143"/>
                  <a:gd name="connsiteY0" fmla="*/ 0 h 2180598"/>
                  <a:gd name="connsiteX1" fmla="*/ 927552 w 1087143"/>
                  <a:gd name="connsiteY1" fmla="*/ 0 h 2180598"/>
                  <a:gd name="connsiteX2" fmla="*/ 1015319 w 1087143"/>
                  <a:gd name="connsiteY2" fmla="*/ 0 h 2180598"/>
                  <a:gd name="connsiteX3" fmla="*/ 1087143 w 1087143"/>
                  <a:gd name="connsiteY3" fmla="*/ 71430 h 2180598"/>
                  <a:gd name="connsiteX4" fmla="*/ 1087143 w 1087143"/>
                  <a:gd name="connsiteY4" fmla="*/ 159275 h 2180598"/>
                  <a:gd name="connsiteX5" fmla="*/ 1087143 w 1087143"/>
                  <a:gd name="connsiteY5" fmla="*/ 675274 h 2180598"/>
                  <a:gd name="connsiteX6" fmla="*/ 1087143 w 1087143"/>
                  <a:gd name="connsiteY6" fmla="*/ 697005 h 2180598"/>
                  <a:gd name="connsiteX7" fmla="*/ 1087143 w 1087143"/>
                  <a:gd name="connsiteY7" fmla="*/ 955202 h 2180598"/>
                  <a:gd name="connsiteX8" fmla="*/ 1087143 w 1087143"/>
                  <a:gd name="connsiteY8" fmla="*/ 1510244 h 2180598"/>
                  <a:gd name="connsiteX9" fmla="*/ 774143 w 1087143"/>
                  <a:gd name="connsiteY9" fmla="*/ 1955235 h 2180598"/>
                  <a:gd name="connsiteX10" fmla="*/ 219469 w 1087143"/>
                  <a:gd name="connsiteY10" fmla="*/ 2169522 h 2180598"/>
                  <a:gd name="connsiteX11" fmla="*/ 203080 w 1087143"/>
                  <a:gd name="connsiteY11" fmla="*/ 2180598 h 2180598"/>
                  <a:gd name="connsiteX12" fmla="*/ 186663 w 1087143"/>
                  <a:gd name="connsiteY12" fmla="*/ 2180598 h 2180598"/>
                  <a:gd name="connsiteX13" fmla="*/ 164483 w 1087143"/>
                  <a:gd name="connsiteY13" fmla="*/ 2180598 h 2180598"/>
                  <a:gd name="connsiteX14" fmla="*/ 104210 w 1087143"/>
                  <a:gd name="connsiteY14" fmla="*/ 2180598 h 2180598"/>
                  <a:gd name="connsiteX15" fmla="*/ 49224 w 1087143"/>
                  <a:gd name="connsiteY15" fmla="*/ 2147343 h 2180598"/>
                  <a:gd name="connsiteX16" fmla="*/ 27494 w 1087143"/>
                  <a:gd name="connsiteY16" fmla="*/ 2086989 h 2180598"/>
                  <a:gd name="connsiteX17" fmla="*/ 0 w 1087143"/>
                  <a:gd name="connsiteY17" fmla="*/ 2010247 h 2180598"/>
                  <a:gd name="connsiteX18" fmla="*/ 32808 w 1087143"/>
                  <a:gd name="connsiteY18" fmla="*/ 1922401 h 2180598"/>
                  <a:gd name="connsiteX19" fmla="*/ 109525 w 1087143"/>
                  <a:gd name="connsiteY19" fmla="*/ 1894882 h 2180598"/>
                  <a:gd name="connsiteX20" fmla="*/ 356909 w 1087143"/>
                  <a:gd name="connsiteY20" fmla="*/ 1801274 h 2180598"/>
                  <a:gd name="connsiteX21" fmla="*/ 751967 w 1087143"/>
                  <a:gd name="connsiteY21" fmla="*/ 1559915 h 2180598"/>
                  <a:gd name="connsiteX22" fmla="*/ 785220 w 1087143"/>
                  <a:gd name="connsiteY22" fmla="*/ 1026631 h 2180598"/>
                  <a:gd name="connsiteX23" fmla="*/ 214156 w 1087143"/>
                  <a:gd name="connsiteY23" fmla="*/ 1026631 h 2180598"/>
                  <a:gd name="connsiteX24" fmla="*/ 126363 w 1087143"/>
                  <a:gd name="connsiteY24" fmla="*/ 1026631 h 2180598"/>
                  <a:gd name="connsiteX25" fmla="*/ 60301 w 1087143"/>
                  <a:gd name="connsiteY25" fmla="*/ 960990 h 2180598"/>
                  <a:gd name="connsiteX26" fmla="*/ 60301 w 1087143"/>
                  <a:gd name="connsiteY26" fmla="*/ 873144 h 2180598"/>
                  <a:gd name="connsiteX27" fmla="*/ 60301 w 1087143"/>
                  <a:gd name="connsiteY27" fmla="*/ 159275 h 2180598"/>
                  <a:gd name="connsiteX28" fmla="*/ 60301 w 1087143"/>
                  <a:gd name="connsiteY28" fmla="*/ 71430 h 2180598"/>
                  <a:gd name="connsiteX29" fmla="*/ 126363 w 1087143"/>
                  <a:gd name="connsiteY29" fmla="*/ 0 h 2180598"/>
                  <a:gd name="connsiteX30" fmla="*/ 214156 w 1087143"/>
                  <a:gd name="connsiteY30" fmla="*/ 0 h 2180598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110328"/>
                  <a:gd name="connsiteY0" fmla="*/ 5291 h 2185889"/>
                  <a:gd name="connsiteX1" fmla="*/ 927552 w 1110328"/>
                  <a:gd name="connsiteY1" fmla="*/ 5291 h 2185889"/>
                  <a:gd name="connsiteX2" fmla="*/ 1015319 w 1110328"/>
                  <a:gd name="connsiteY2" fmla="*/ 5291 h 2185889"/>
                  <a:gd name="connsiteX3" fmla="*/ 1087143 w 1110328"/>
                  <a:gd name="connsiteY3" fmla="*/ 76721 h 2185889"/>
                  <a:gd name="connsiteX4" fmla="*/ 1087143 w 1110328"/>
                  <a:gd name="connsiteY4" fmla="*/ 164566 h 2185889"/>
                  <a:gd name="connsiteX5" fmla="*/ 1087143 w 1110328"/>
                  <a:gd name="connsiteY5" fmla="*/ 680565 h 2185889"/>
                  <a:gd name="connsiteX6" fmla="*/ 1087143 w 1110328"/>
                  <a:gd name="connsiteY6" fmla="*/ 702296 h 2185889"/>
                  <a:gd name="connsiteX7" fmla="*/ 1087143 w 1110328"/>
                  <a:gd name="connsiteY7" fmla="*/ 960493 h 2185889"/>
                  <a:gd name="connsiteX8" fmla="*/ 1087143 w 1110328"/>
                  <a:gd name="connsiteY8" fmla="*/ 1515535 h 2185889"/>
                  <a:gd name="connsiteX9" fmla="*/ 774143 w 1110328"/>
                  <a:gd name="connsiteY9" fmla="*/ 1960526 h 2185889"/>
                  <a:gd name="connsiteX10" fmla="*/ 219469 w 1110328"/>
                  <a:gd name="connsiteY10" fmla="*/ 2174813 h 2185889"/>
                  <a:gd name="connsiteX11" fmla="*/ 203080 w 1110328"/>
                  <a:gd name="connsiteY11" fmla="*/ 2185889 h 2185889"/>
                  <a:gd name="connsiteX12" fmla="*/ 186663 w 1110328"/>
                  <a:gd name="connsiteY12" fmla="*/ 2185889 h 2185889"/>
                  <a:gd name="connsiteX13" fmla="*/ 164483 w 1110328"/>
                  <a:gd name="connsiteY13" fmla="*/ 2185889 h 2185889"/>
                  <a:gd name="connsiteX14" fmla="*/ 104210 w 1110328"/>
                  <a:gd name="connsiteY14" fmla="*/ 2185889 h 2185889"/>
                  <a:gd name="connsiteX15" fmla="*/ 49224 w 1110328"/>
                  <a:gd name="connsiteY15" fmla="*/ 2152634 h 2185889"/>
                  <a:gd name="connsiteX16" fmla="*/ 27494 w 1110328"/>
                  <a:gd name="connsiteY16" fmla="*/ 2092280 h 2185889"/>
                  <a:gd name="connsiteX17" fmla="*/ 0 w 1110328"/>
                  <a:gd name="connsiteY17" fmla="*/ 2015538 h 2185889"/>
                  <a:gd name="connsiteX18" fmla="*/ 32808 w 1110328"/>
                  <a:gd name="connsiteY18" fmla="*/ 1927692 h 2185889"/>
                  <a:gd name="connsiteX19" fmla="*/ 109525 w 1110328"/>
                  <a:gd name="connsiteY19" fmla="*/ 1900173 h 2185889"/>
                  <a:gd name="connsiteX20" fmla="*/ 356909 w 1110328"/>
                  <a:gd name="connsiteY20" fmla="*/ 1806565 h 2185889"/>
                  <a:gd name="connsiteX21" fmla="*/ 751967 w 1110328"/>
                  <a:gd name="connsiteY21" fmla="*/ 1565206 h 2185889"/>
                  <a:gd name="connsiteX22" fmla="*/ 785220 w 1110328"/>
                  <a:gd name="connsiteY22" fmla="*/ 1031922 h 2185889"/>
                  <a:gd name="connsiteX23" fmla="*/ 214156 w 1110328"/>
                  <a:gd name="connsiteY23" fmla="*/ 1031922 h 2185889"/>
                  <a:gd name="connsiteX24" fmla="*/ 126363 w 1110328"/>
                  <a:gd name="connsiteY24" fmla="*/ 1031922 h 2185889"/>
                  <a:gd name="connsiteX25" fmla="*/ 60301 w 1110328"/>
                  <a:gd name="connsiteY25" fmla="*/ 966281 h 2185889"/>
                  <a:gd name="connsiteX26" fmla="*/ 60301 w 1110328"/>
                  <a:gd name="connsiteY26" fmla="*/ 878435 h 2185889"/>
                  <a:gd name="connsiteX27" fmla="*/ 60301 w 1110328"/>
                  <a:gd name="connsiteY27" fmla="*/ 164566 h 2185889"/>
                  <a:gd name="connsiteX28" fmla="*/ 60301 w 1110328"/>
                  <a:gd name="connsiteY28" fmla="*/ 76721 h 2185889"/>
                  <a:gd name="connsiteX29" fmla="*/ 126363 w 1110328"/>
                  <a:gd name="connsiteY29" fmla="*/ 5291 h 2185889"/>
                  <a:gd name="connsiteX30" fmla="*/ 214156 w 1110328"/>
                  <a:gd name="connsiteY30" fmla="*/ 5291 h 2185889"/>
                  <a:gd name="connsiteX0" fmla="*/ 214156 w 1110328"/>
                  <a:gd name="connsiteY0" fmla="*/ 5291 h 2185889"/>
                  <a:gd name="connsiteX1" fmla="*/ 927552 w 1110328"/>
                  <a:gd name="connsiteY1" fmla="*/ 5291 h 2185889"/>
                  <a:gd name="connsiteX2" fmla="*/ 1015319 w 1110328"/>
                  <a:gd name="connsiteY2" fmla="*/ 5291 h 2185889"/>
                  <a:gd name="connsiteX3" fmla="*/ 1087143 w 1110328"/>
                  <a:gd name="connsiteY3" fmla="*/ 76721 h 2185889"/>
                  <a:gd name="connsiteX4" fmla="*/ 1087143 w 1110328"/>
                  <a:gd name="connsiteY4" fmla="*/ 164566 h 2185889"/>
                  <a:gd name="connsiteX5" fmla="*/ 1087143 w 1110328"/>
                  <a:gd name="connsiteY5" fmla="*/ 680565 h 2185889"/>
                  <a:gd name="connsiteX6" fmla="*/ 1087143 w 1110328"/>
                  <a:gd name="connsiteY6" fmla="*/ 702296 h 2185889"/>
                  <a:gd name="connsiteX7" fmla="*/ 1087143 w 1110328"/>
                  <a:gd name="connsiteY7" fmla="*/ 960493 h 2185889"/>
                  <a:gd name="connsiteX8" fmla="*/ 1087143 w 1110328"/>
                  <a:gd name="connsiteY8" fmla="*/ 1515535 h 2185889"/>
                  <a:gd name="connsiteX9" fmla="*/ 774143 w 1110328"/>
                  <a:gd name="connsiteY9" fmla="*/ 1960526 h 2185889"/>
                  <a:gd name="connsiteX10" fmla="*/ 219469 w 1110328"/>
                  <a:gd name="connsiteY10" fmla="*/ 2174813 h 2185889"/>
                  <a:gd name="connsiteX11" fmla="*/ 203080 w 1110328"/>
                  <a:gd name="connsiteY11" fmla="*/ 2185889 h 2185889"/>
                  <a:gd name="connsiteX12" fmla="*/ 186663 w 1110328"/>
                  <a:gd name="connsiteY12" fmla="*/ 2185889 h 2185889"/>
                  <a:gd name="connsiteX13" fmla="*/ 164483 w 1110328"/>
                  <a:gd name="connsiteY13" fmla="*/ 2185889 h 2185889"/>
                  <a:gd name="connsiteX14" fmla="*/ 104210 w 1110328"/>
                  <a:gd name="connsiteY14" fmla="*/ 2185889 h 2185889"/>
                  <a:gd name="connsiteX15" fmla="*/ 49224 w 1110328"/>
                  <a:gd name="connsiteY15" fmla="*/ 2152634 h 2185889"/>
                  <a:gd name="connsiteX16" fmla="*/ 27494 w 1110328"/>
                  <a:gd name="connsiteY16" fmla="*/ 2092280 h 2185889"/>
                  <a:gd name="connsiteX17" fmla="*/ 0 w 1110328"/>
                  <a:gd name="connsiteY17" fmla="*/ 2015538 h 2185889"/>
                  <a:gd name="connsiteX18" fmla="*/ 32808 w 1110328"/>
                  <a:gd name="connsiteY18" fmla="*/ 1927692 h 2185889"/>
                  <a:gd name="connsiteX19" fmla="*/ 109525 w 1110328"/>
                  <a:gd name="connsiteY19" fmla="*/ 1900173 h 2185889"/>
                  <a:gd name="connsiteX20" fmla="*/ 356909 w 1110328"/>
                  <a:gd name="connsiteY20" fmla="*/ 1806565 h 2185889"/>
                  <a:gd name="connsiteX21" fmla="*/ 751967 w 1110328"/>
                  <a:gd name="connsiteY21" fmla="*/ 1565206 h 2185889"/>
                  <a:gd name="connsiteX22" fmla="*/ 785220 w 1110328"/>
                  <a:gd name="connsiteY22" fmla="*/ 1031922 h 2185889"/>
                  <a:gd name="connsiteX23" fmla="*/ 214156 w 1110328"/>
                  <a:gd name="connsiteY23" fmla="*/ 1031922 h 2185889"/>
                  <a:gd name="connsiteX24" fmla="*/ 126363 w 1110328"/>
                  <a:gd name="connsiteY24" fmla="*/ 1031922 h 2185889"/>
                  <a:gd name="connsiteX25" fmla="*/ 60301 w 1110328"/>
                  <a:gd name="connsiteY25" fmla="*/ 966281 h 2185889"/>
                  <a:gd name="connsiteX26" fmla="*/ 60301 w 1110328"/>
                  <a:gd name="connsiteY26" fmla="*/ 878435 h 2185889"/>
                  <a:gd name="connsiteX27" fmla="*/ 60301 w 1110328"/>
                  <a:gd name="connsiteY27" fmla="*/ 164566 h 2185889"/>
                  <a:gd name="connsiteX28" fmla="*/ 60301 w 1110328"/>
                  <a:gd name="connsiteY28" fmla="*/ 76721 h 2185889"/>
                  <a:gd name="connsiteX29" fmla="*/ 126363 w 1110328"/>
                  <a:gd name="connsiteY29" fmla="*/ 5291 h 2185889"/>
                  <a:gd name="connsiteX30" fmla="*/ 214156 w 1110328"/>
                  <a:gd name="connsiteY30" fmla="*/ 5291 h 2185889"/>
                  <a:gd name="connsiteX0" fmla="*/ 214156 w 1110328"/>
                  <a:gd name="connsiteY0" fmla="*/ 5291 h 2194111"/>
                  <a:gd name="connsiteX1" fmla="*/ 927552 w 1110328"/>
                  <a:gd name="connsiteY1" fmla="*/ 5291 h 2194111"/>
                  <a:gd name="connsiteX2" fmla="*/ 1015319 w 1110328"/>
                  <a:gd name="connsiteY2" fmla="*/ 5291 h 2194111"/>
                  <a:gd name="connsiteX3" fmla="*/ 1087143 w 1110328"/>
                  <a:gd name="connsiteY3" fmla="*/ 76721 h 2194111"/>
                  <a:gd name="connsiteX4" fmla="*/ 1087143 w 1110328"/>
                  <a:gd name="connsiteY4" fmla="*/ 164566 h 2194111"/>
                  <a:gd name="connsiteX5" fmla="*/ 1087143 w 1110328"/>
                  <a:gd name="connsiteY5" fmla="*/ 680565 h 2194111"/>
                  <a:gd name="connsiteX6" fmla="*/ 1087143 w 1110328"/>
                  <a:gd name="connsiteY6" fmla="*/ 702296 h 2194111"/>
                  <a:gd name="connsiteX7" fmla="*/ 1087143 w 1110328"/>
                  <a:gd name="connsiteY7" fmla="*/ 960493 h 2194111"/>
                  <a:gd name="connsiteX8" fmla="*/ 1087143 w 1110328"/>
                  <a:gd name="connsiteY8" fmla="*/ 1515535 h 2194111"/>
                  <a:gd name="connsiteX9" fmla="*/ 774143 w 1110328"/>
                  <a:gd name="connsiteY9" fmla="*/ 1960526 h 2194111"/>
                  <a:gd name="connsiteX10" fmla="*/ 219469 w 1110328"/>
                  <a:gd name="connsiteY10" fmla="*/ 2174813 h 2194111"/>
                  <a:gd name="connsiteX11" fmla="*/ 203080 w 1110328"/>
                  <a:gd name="connsiteY11" fmla="*/ 2185889 h 2194111"/>
                  <a:gd name="connsiteX12" fmla="*/ 186663 w 1110328"/>
                  <a:gd name="connsiteY12" fmla="*/ 2185889 h 2194111"/>
                  <a:gd name="connsiteX13" fmla="*/ 164483 w 1110328"/>
                  <a:gd name="connsiteY13" fmla="*/ 2185889 h 2194111"/>
                  <a:gd name="connsiteX14" fmla="*/ 104210 w 1110328"/>
                  <a:gd name="connsiteY14" fmla="*/ 2185889 h 2194111"/>
                  <a:gd name="connsiteX15" fmla="*/ 49224 w 1110328"/>
                  <a:gd name="connsiteY15" fmla="*/ 2152634 h 2194111"/>
                  <a:gd name="connsiteX16" fmla="*/ 27494 w 1110328"/>
                  <a:gd name="connsiteY16" fmla="*/ 2092280 h 2194111"/>
                  <a:gd name="connsiteX17" fmla="*/ 0 w 1110328"/>
                  <a:gd name="connsiteY17" fmla="*/ 2015538 h 2194111"/>
                  <a:gd name="connsiteX18" fmla="*/ 32808 w 1110328"/>
                  <a:gd name="connsiteY18" fmla="*/ 1927692 h 2194111"/>
                  <a:gd name="connsiteX19" fmla="*/ 109525 w 1110328"/>
                  <a:gd name="connsiteY19" fmla="*/ 1900173 h 2194111"/>
                  <a:gd name="connsiteX20" fmla="*/ 356909 w 1110328"/>
                  <a:gd name="connsiteY20" fmla="*/ 1806565 h 2194111"/>
                  <a:gd name="connsiteX21" fmla="*/ 751967 w 1110328"/>
                  <a:gd name="connsiteY21" fmla="*/ 1565206 h 2194111"/>
                  <a:gd name="connsiteX22" fmla="*/ 785220 w 1110328"/>
                  <a:gd name="connsiteY22" fmla="*/ 1031922 h 2194111"/>
                  <a:gd name="connsiteX23" fmla="*/ 214156 w 1110328"/>
                  <a:gd name="connsiteY23" fmla="*/ 1031922 h 2194111"/>
                  <a:gd name="connsiteX24" fmla="*/ 126363 w 1110328"/>
                  <a:gd name="connsiteY24" fmla="*/ 1031922 h 2194111"/>
                  <a:gd name="connsiteX25" fmla="*/ 60301 w 1110328"/>
                  <a:gd name="connsiteY25" fmla="*/ 966281 h 2194111"/>
                  <a:gd name="connsiteX26" fmla="*/ 60301 w 1110328"/>
                  <a:gd name="connsiteY26" fmla="*/ 878435 h 2194111"/>
                  <a:gd name="connsiteX27" fmla="*/ 60301 w 1110328"/>
                  <a:gd name="connsiteY27" fmla="*/ 164566 h 2194111"/>
                  <a:gd name="connsiteX28" fmla="*/ 60301 w 1110328"/>
                  <a:gd name="connsiteY28" fmla="*/ 76721 h 2194111"/>
                  <a:gd name="connsiteX29" fmla="*/ 126363 w 1110328"/>
                  <a:gd name="connsiteY29" fmla="*/ 5291 h 2194111"/>
                  <a:gd name="connsiteX30" fmla="*/ 214156 w 1110328"/>
                  <a:gd name="connsiteY30" fmla="*/ 5291 h 2194111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6221 w 1112393"/>
                  <a:gd name="connsiteY0" fmla="*/ 5291 h 2194956"/>
                  <a:gd name="connsiteX1" fmla="*/ 929617 w 1112393"/>
                  <a:gd name="connsiteY1" fmla="*/ 5291 h 2194956"/>
                  <a:gd name="connsiteX2" fmla="*/ 1017384 w 1112393"/>
                  <a:gd name="connsiteY2" fmla="*/ 5291 h 2194956"/>
                  <a:gd name="connsiteX3" fmla="*/ 1089208 w 1112393"/>
                  <a:gd name="connsiteY3" fmla="*/ 76721 h 2194956"/>
                  <a:gd name="connsiteX4" fmla="*/ 1089208 w 1112393"/>
                  <a:gd name="connsiteY4" fmla="*/ 164566 h 2194956"/>
                  <a:gd name="connsiteX5" fmla="*/ 1089208 w 1112393"/>
                  <a:gd name="connsiteY5" fmla="*/ 680565 h 2194956"/>
                  <a:gd name="connsiteX6" fmla="*/ 1089208 w 1112393"/>
                  <a:gd name="connsiteY6" fmla="*/ 702296 h 2194956"/>
                  <a:gd name="connsiteX7" fmla="*/ 1089208 w 1112393"/>
                  <a:gd name="connsiteY7" fmla="*/ 960493 h 2194956"/>
                  <a:gd name="connsiteX8" fmla="*/ 1089208 w 1112393"/>
                  <a:gd name="connsiteY8" fmla="*/ 1515535 h 2194956"/>
                  <a:gd name="connsiteX9" fmla="*/ 776208 w 1112393"/>
                  <a:gd name="connsiteY9" fmla="*/ 1960526 h 2194956"/>
                  <a:gd name="connsiteX10" fmla="*/ 221534 w 1112393"/>
                  <a:gd name="connsiteY10" fmla="*/ 2174813 h 2194956"/>
                  <a:gd name="connsiteX11" fmla="*/ 205145 w 1112393"/>
                  <a:gd name="connsiteY11" fmla="*/ 2185889 h 2194956"/>
                  <a:gd name="connsiteX12" fmla="*/ 188728 w 1112393"/>
                  <a:gd name="connsiteY12" fmla="*/ 2185889 h 2194956"/>
                  <a:gd name="connsiteX13" fmla="*/ 166548 w 1112393"/>
                  <a:gd name="connsiteY13" fmla="*/ 2185889 h 2194956"/>
                  <a:gd name="connsiteX14" fmla="*/ 106275 w 1112393"/>
                  <a:gd name="connsiteY14" fmla="*/ 2185889 h 2194956"/>
                  <a:gd name="connsiteX15" fmla="*/ 51289 w 1112393"/>
                  <a:gd name="connsiteY15" fmla="*/ 2152634 h 2194956"/>
                  <a:gd name="connsiteX16" fmla="*/ 29559 w 1112393"/>
                  <a:gd name="connsiteY16" fmla="*/ 2092280 h 2194956"/>
                  <a:gd name="connsiteX17" fmla="*/ 2065 w 1112393"/>
                  <a:gd name="connsiteY17" fmla="*/ 2015538 h 2194956"/>
                  <a:gd name="connsiteX18" fmla="*/ 34873 w 1112393"/>
                  <a:gd name="connsiteY18" fmla="*/ 1927692 h 2194956"/>
                  <a:gd name="connsiteX19" fmla="*/ 111590 w 1112393"/>
                  <a:gd name="connsiteY19" fmla="*/ 1900173 h 2194956"/>
                  <a:gd name="connsiteX20" fmla="*/ 358974 w 1112393"/>
                  <a:gd name="connsiteY20" fmla="*/ 1806565 h 2194956"/>
                  <a:gd name="connsiteX21" fmla="*/ 754032 w 1112393"/>
                  <a:gd name="connsiteY21" fmla="*/ 1565206 h 2194956"/>
                  <a:gd name="connsiteX22" fmla="*/ 787285 w 1112393"/>
                  <a:gd name="connsiteY22" fmla="*/ 1031922 h 2194956"/>
                  <a:gd name="connsiteX23" fmla="*/ 216221 w 1112393"/>
                  <a:gd name="connsiteY23" fmla="*/ 1031922 h 2194956"/>
                  <a:gd name="connsiteX24" fmla="*/ 128428 w 1112393"/>
                  <a:gd name="connsiteY24" fmla="*/ 1031922 h 2194956"/>
                  <a:gd name="connsiteX25" fmla="*/ 62366 w 1112393"/>
                  <a:gd name="connsiteY25" fmla="*/ 966281 h 2194956"/>
                  <a:gd name="connsiteX26" fmla="*/ 62366 w 1112393"/>
                  <a:gd name="connsiteY26" fmla="*/ 878435 h 2194956"/>
                  <a:gd name="connsiteX27" fmla="*/ 62366 w 1112393"/>
                  <a:gd name="connsiteY27" fmla="*/ 164566 h 2194956"/>
                  <a:gd name="connsiteX28" fmla="*/ 62366 w 1112393"/>
                  <a:gd name="connsiteY28" fmla="*/ 76721 h 2194956"/>
                  <a:gd name="connsiteX29" fmla="*/ 128428 w 1112393"/>
                  <a:gd name="connsiteY29" fmla="*/ 5291 h 2194956"/>
                  <a:gd name="connsiteX30" fmla="*/ 216221 w 1112393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9224 h 2198889"/>
                  <a:gd name="connsiteX1" fmla="*/ 927552 w 1110328"/>
                  <a:gd name="connsiteY1" fmla="*/ 9224 h 2198889"/>
                  <a:gd name="connsiteX2" fmla="*/ 1015319 w 1110328"/>
                  <a:gd name="connsiteY2" fmla="*/ 9224 h 2198889"/>
                  <a:gd name="connsiteX3" fmla="*/ 1087143 w 1110328"/>
                  <a:gd name="connsiteY3" fmla="*/ 80654 h 2198889"/>
                  <a:gd name="connsiteX4" fmla="*/ 1087143 w 1110328"/>
                  <a:gd name="connsiteY4" fmla="*/ 168499 h 2198889"/>
                  <a:gd name="connsiteX5" fmla="*/ 1087143 w 1110328"/>
                  <a:gd name="connsiteY5" fmla="*/ 684498 h 2198889"/>
                  <a:gd name="connsiteX6" fmla="*/ 1087143 w 1110328"/>
                  <a:gd name="connsiteY6" fmla="*/ 706229 h 2198889"/>
                  <a:gd name="connsiteX7" fmla="*/ 1087143 w 1110328"/>
                  <a:gd name="connsiteY7" fmla="*/ 964426 h 2198889"/>
                  <a:gd name="connsiteX8" fmla="*/ 1087143 w 1110328"/>
                  <a:gd name="connsiteY8" fmla="*/ 1519468 h 2198889"/>
                  <a:gd name="connsiteX9" fmla="*/ 774143 w 1110328"/>
                  <a:gd name="connsiteY9" fmla="*/ 1964459 h 2198889"/>
                  <a:gd name="connsiteX10" fmla="*/ 219469 w 1110328"/>
                  <a:gd name="connsiteY10" fmla="*/ 2178746 h 2198889"/>
                  <a:gd name="connsiteX11" fmla="*/ 203080 w 1110328"/>
                  <a:gd name="connsiteY11" fmla="*/ 2189822 h 2198889"/>
                  <a:gd name="connsiteX12" fmla="*/ 186663 w 1110328"/>
                  <a:gd name="connsiteY12" fmla="*/ 2189822 h 2198889"/>
                  <a:gd name="connsiteX13" fmla="*/ 164483 w 1110328"/>
                  <a:gd name="connsiteY13" fmla="*/ 2189822 h 2198889"/>
                  <a:gd name="connsiteX14" fmla="*/ 104210 w 1110328"/>
                  <a:gd name="connsiteY14" fmla="*/ 2189822 h 2198889"/>
                  <a:gd name="connsiteX15" fmla="*/ 49224 w 1110328"/>
                  <a:gd name="connsiteY15" fmla="*/ 2156567 h 2198889"/>
                  <a:gd name="connsiteX16" fmla="*/ 27494 w 1110328"/>
                  <a:gd name="connsiteY16" fmla="*/ 2096213 h 2198889"/>
                  <a:gd name="connsiteX17" fmla="*/ 0 w 1110328"/>
                  <a:gd name="connsiteY17" fmla="*/ 2019471 h 2198889"/>
                  <a:gd name="connsiteX18" fmla="*/ 32808 w 1110328"/>
                  <a:gd name="connsiteY18" fmla="*/ 1931625 h 2198889"/>
                  <a:gd name="connsiteX19" fmla="*/ 109525 w 1110328"/>
                  <a:gd name="connsiteY19" fmla="*/ 1904106 h 2198889"/>
                  <a:gd name="connsiteX20" fmla="*/ 356909 w 1110328"/>
                  <a:gd name="connsiteY20" fmla="*/ 1810498 h 2198889"/>
                  <a:gd name="connsiteX21" fmla="*/ 751967 w 1110328"/>
                  <a:gd name="connsiteY21" fmla="*/ 1569139 h 2198889"/>
                  <a:gd name="connsiteX22" fmla="*/ 785220 w 1110328"/>
                  <a:gd name="connsiteY22" fmla="*/ 1035855 h 2198889"/>
                  <a:gd name="connsiteX23" fmla="*/ 214156 w 1110328"/>
                  <a:gd name="connsiteY23" fmla="*/ 1035855 h 2198889"/>
                  <a:gd name="connsiteX24" fmla="*/ 126363 w 1110328"/>
                  <a:gd name="connsiteY24" fmla="*/ 1035855 h 2198889"/>
                  <a:gd name="connsiteX25" fmla="*/ 60301 w 1110328"/>
                  <a:gd name="connsiteY25" fmla="*/ 970214 h 2198889"/>
                  <a:gd name="connsiteX26" fmla="*/ 60301 w 1110328"/>
                  <a:gd name="connsiteY26" fmla="*/ 882368 h 2198889"/>
                  <a:gd name="connsiteX27" fmla="*/ 60301 w 1110328"/>
                  <a:gd name="connsiteY27" fmla="*/ 168499 h 2198889"/>
                  <a:gd name="connsiteX28" fmla="*/ 60301 w 1110328"/>
                  <a:gd name="connsiteY28" fmla="*/ 80654 h 2198889"/>
                  <a:gd name="connsiteX29" fmla="*/ 126363 w 1110328"/>
                  <a:gd name="connsiteY29" fmla="*/ 9224 h 2198889"/>
                  <a:gd name="connsiteX30" fmla="*/ 214156 w 1110328"/>
                  <a:gd name="connsiteY30" fmla="*/ 9224 h 2198889"/>
                  <a:gd name="connsiteX0" fmla="*/ 214156 w 1110328"/>
                  <a:gd name="connsiteY0" fmla="*/ 5292 h 2194957"/>
                  <a:gd name="connsiteX1" fmla="*/ 927552 w 1110328"/>
                  <a:gd name="connsiteY1" fmla="*/ 5292 h 2194957"/>
                  <a:gd name="connsiteX2" fmla="*/ 1015319 w 1110328"/>
                  <a:gd name="connsiteY2" fmla="*/ 5292 h 2194957"/>
                  <a:gd name="connsiteX3" fmla="*/ 1087143 w 1110328"/>
                  <a:gd name="connsiteY3" fmla="*/ 76722 h 2194957"/>
                  <a:gd name="connsiteX4" fmla="*/ 1087143 w 1110328"/>
                  <a:gd name="connsiteY4" fmla="*/ 164567 h 2194957"/>
                  <a:gd name="connsiteX5" fmla="*/ 1087143 w 1110328"/>
                  <a:gd name="connsiteY5" fmla="*/ 680566 h 2194957"/>
                  <a:gd name="connsiteX6" fmla="*/ 1087143 w 1110328"/>
                  <a:gd name="connsiteY6" fmla="*/ 702297 h 2194957"/>
                  <a:gd name="connsiteX7" fmla="*/ 1087143 w 1110328"/>
                  <a:gd name="connsiteY7" fmla="*/ 960494 h 2194957"/>
                  <a:gd name="connsiteX8" fmla="*/ 1087143 w 1110328"/>
                  <a:gd name="connsiteY8" fmla="*/ 1515536 h 2194957"/>
                  <a:gd name="connsiteX9" fmla="*/ 774143 w 1110328"/>
                  <a:gd name="connsiteY9" fmla="*/ 1960527 h 2194957"/>
                  <a:gd name="connsiteX10" fmla="*/ 219469 w 1110328"/>
                  <a:gd name="connsiteY10" fmla="*/ 2174814 h 2194957"/>
                  <a:gd name="connsiteX11" fmla="*/ 203080 w 1110328"/>
                  <a:gd name="connsiteY11" fmla="*/ 2185890 h 2194957"/>
                  <a:gd name="connsiteX12" fmla="*/ 186663 w 1110328"/>
                  <a:gd name="connsiteY12" fmla="*/ 2185890 h 2194957"/>
                  <a:gd name="connsiteX13" fmla="*/ 164483 w 1110328"/>
                  <a:gd name="connsiteY13" fmla="*/ 2185890 h 2194957"/>
                  <a:gd name="connsiteX14" fmla="*/ 104210 w 1110328"/>
                  <a:gd name="connsiteY14" fmla="*/ 2185890 h 2194957"/>
                  <a:gd name="connsiteX15" fmla="*/ 49224 w 1110328"/>
                  <a:gd name="connsiteY15" fmla="*/ 2152635 h 2194957"/>
                  <a:gd name="connsiteX16" fmla="*/ 27494 w 1110328"/>
                  <a:gd name="connsiteY16" fmla="*/ 2092281 h 2194957"/>
                  <a:gd name="connsiteX17" fmla="*/ 0 w 1110328"/>
                  <a:gd name="connsiteY17" fmla="*/ 2015539 h 2194957"/>
                  <a:gd name="connsiteX18" fmla="*/ 32808 w 1110328"/>
                  <a:gd name="connsiteY18" fmla="*/ 1927693 h 2194957"/>
                  <a:gd name="connsiteX19" fmla="*/ 109525 w 1110328"/>
                  <a:gd name="connsiteY19" fmla="*/ 1900174 h 2194957"/>
                  <a:gd name="connsiteX20" fmla="*/ 356909 w 1110328"/>
                  <a:gd name="connsiteY20" fmla="*/ 1806566 h 2194957"/>
                  <a:gd name="connsiteX21" fmla="*/ 751967 w 1110328"/>
                  <a:gd name="connsiteY21" fmla="*/ 1565207 h 2194957"/>
                  <a:gd name="connsiteX22" fmla="*/ 785220 w 1110328"/>
                  <a:gd name="connsiteY22" fmla="*/ 1031923 h 2194957"/>
                  <a:gd name="connsiteX23" fmla="*/ 214156 w 1110328"/>
                  <a:gd name="connsiteY23" fmla="*/ 1031923 h 2194957"/>
                  <a:gd name="connsiteX24" fmla="*/ 126363 w 1110328"/>
                  <a:gd name="connsiteY24" fmla="*/ 1031923 h 2194957"/>
                  <a:gd name="connsiteX25" fmla="*/ 60301 w 1110328"/>
                  <a:gd name="connsiteY25" fmla="*/ 966282 h 2194957"/>
                  <a:gd name="connsiteX26" fmla="*/ 60301 w 1110328"/>
                  <a:gd name="connsiteY26" fmla="*/ 878436 h 2194957"/>
                  <a:gd name="connsiteX27" fmla="*/ 60301 w 1110328"/>
                  <a:gd name="connsiteY27" fmla="*/ 164567 h 2194957"/>
                  <a:gd name="connsiteX28" fmla="*/ 60301 w 1110328"/>
                  <a:gd name="connsiteY28" fmla="*/ 76722 h 2194957"/>
                  <a:gd name="connsiteX29" fmla="*/ 126363 w 1110328"/>
                  <a:gd name="connsiteY29" fmla="*/ 5292 h 2194957"/>
                  <a:gd name="connsiteX30" fmla="*/ 214156 w 1110328"/>
                  <a:gd name="connsiteY30" fmla="*/ 5292 h 2194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110328" h="2194957">
                    <a:moveTo>
                      <a:pt x="214156" y="5292"/>
                    </a:moveTo>
                    <a:lnTo>
                      <a:pt x="927552" y="5292"/>
                    </a:lnTo>
                    <a:cubicBezTo>
                      <a:pt x="1061079" y="5292"/>
                      <a:pt x="988721" y="-6613"/>
                      <a:pt x="1015319" y="5292"/>
                    </a:cubicBezTo>
                    <a:cubicBezTo>
                      <a:pt x="1041917" y="17197"/>
                      <a:pt x="1087143" y="47602"/>
                      <a:pt x="1087143" y="76722"/>
                    </a:cubicBezTo>
                    <a:lnTo>
                      <a:pt x="1087143" y="164567"/>
                    </a:lnTo>
                    <a:lnTo>
                      <a:pt x="1087143" y="680566"/>
                    </a:lnTo>
                    <a:lnTo>
                      <a:pt x="1087143" y="702297"/>
                    </a:lnTo>
                    <a:lnTo>
                      <a:pt x="1087143" y="960494"/>
                    </a:lnTo>
                    <a:cubicBezTo>
                      <a:pt x="1087143" y="1096034"/>
                      <a:pt x="1139310" y="1348864"/>
                      <a:pt x="1087143" y="1515536"/>
                    </a:cubicBezTo>
                    <a:cubicBezTo>
                      <a:pt x="1034976" y="1682208"/>
                      <a:pt x="943561" y="1895076"/>
                      <a:pt x="774143" y="1960527"/>
                    </a:cubicBezTo>
                    <a:lnTo>
                      <a:pt x="219469" y="2174814"/>
                    </a:lnTo>
                    <a:cubicBezTo>
                      <a:pt x="124292" y="2212375"/>
                      <a:pt x="208851" y="2185890"/>
                      <a:pt x="203080" y="2185890"/>
                    </a:cubicBezTo>
                    <a:lnTo>
                      <a:pt x="186663" y="2185890"/>
                    </a:lnTo>
                    <a:lnTo>
                      <a:pt x="164483" y="2185890"/>
                    </a:lnTo>
                    <a:cubicBezTo>
                      <a:pt x="150741" y="2185890"/>
                      <a:pt x="121318" y="2196237"/>
                      <a:pt x="104210" y="2185890"/>
                    </a:cubicBezTo>
                    <a:lnTo>
                      <a:pt x="49224" y="2152635"/>
                    </a:lnTo>
                    <a:cubicBezTo>
                      <a:pt x="36438" y="2137034"/>
                      <a:pt x="35682" y="2115136"/>
                      <a:pt x="27494" y="2092281"/>
                    </a:cubicBezTo>
                    <a:lnTo>
                      <a:pt x="0" y="2015539"/>
                    </a:lnTo>
                    <a:cubicBezTo>
                      <a:pt x="886" y="1988108"/>
                      <a:pt x="7853" y="1936645"/>
                      <a:pt x="32808" y="1927693"/>
                    </a:cubicBezTo>
                    <a:lnTo>
                      <a:pt x="109525" y="1900174"/>
                    </a:lnTo>
                    <a:cubicBezTo>
                      <a:pt x="163542" y="1879986"/>
                      <a:pt x="253864" y="1869521"/>
                      <a:pt x="356909" y="1806566"/>
                    </a:cubicBezTo>
                    <a:lnTo>
                      <a:pt x="751967" y="1565207"/>
                    </a:lnTo>
                    <a:cubicBezTo>
                      <a:pt x="823352" y="1436100"/>
                      <a:pt x="911451" y="1031923"/>
                      <a:pt x="785220" y="1031923"/>
                    </a:cubicBezTo>
                    <a:lnTo>
                      <a:pt x="214156" y="1031923"/>
                    </a:lnTo>
                    <a:cubicBezTo>
                      <a:pt x="104347" y="1031923"/>
                      <a:pt x="152006" y="1042863"/>
                      <a:pt x="126363" y="1031923"/>
                    </a:cubicBezTo>
                    <a:cubicBezTo>
                      <a:pt x="100721" y="1020983"/>
                      <a:pt x="60301" y="994132"/>
                      <a:pt x="60301" y="966282"/>
                    </a:cubicBezTo>
                    <a:lnTo>
                      <a:pt x="60301" y="878436"/>
                    </a:lnTo>
                    <a:lnTo>
                      <a:pt x="60301" y="164567"/>
                    </a:lnTo>
                    <a:cubicBezTo>
                      <a:pt x="60301" y="30948"/>
                      <a:pt x="40788" y="97820"/>
                      <a:pt x="60301" y="76722"/>
                    </a:cubicBezTo>
                    <a:lnTo>
                      <a:pt x="126363" y="5292"/>
                    </a:lnTo>
                    <a:cubicBezTo>
                      <a:pt x="152005" y="-6613"/>
                      <a:pt x="80625" y="5292"/>
                      <a:pt x="214156" y="5292"/>
                    </a:cubicBezTo>
                    <a:close/>
                  </a:path>
                </a:pathLst>
              </a:custGeom>
              <a:grpFill/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400"/>
                  </a:spcBef>
                  <a:spcAft>
                    <a:spcPts val="400"/>
                  </a:spcAft>
                </a:pPr>
                <a:endParaRPr lang="en-US" sz="21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20E3A4AF-0681-4BAC-AC5A-3A91DEC81A7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283146" y="4018207"/>
                <a:ext cx="1110328" cy="2194957"/>
              </a:xfrm>
              <a:custGeom>
                <a:avLst/>
                <a:gdLst>
                  <a:gd name="connsiteX0" fmla="*/ 214156 w 1087143"/>
                  <a:gd name="connsiteY0" fmla="*/ 0 h 2180598"/>
                  <a:gd name="connsiteX1" fmla="*/ 927552 w 1087143"/>
                  <a:gd name="connsiteY1" fmla="*/ 0 h 2180598"/>
                  <a:gd name="connsiteX2" fmla="*/ 1015319 w 1087143"/>
                  <a:gd name="connsiteY2" fmla="*/ 0 h 2180598"/>
                  <a:gd name="connsiteX3" fmla="*/ 1087143 w 1087143"/>
                  <a:gd name="connsiteY3" fmla="*/ 71430 h 2180598"/>
                  <a:gd name="connsiteX4" fmla="*/ 1087143 w 1087143"/>
                  <a:gd name="connsiteY4" fmla="*/ 159275 h 2180598"/>
                  <a:gd name="connsiteX5" fmla="*/ 1087143 w 1087143"/>
                  <a:gd name="connsiteY5" fmla="*/ 675274 h 2180598"/>
                  <a:gd name="connsiteX6" fmla="*/ 1087143 w 1087143"/>
                  <a:gd name="connsiteY6" fmla="*/ 697005 h 2180598"/>
                  <a:gd name="connsiteX7" fmla="*/ 1087143 w 1087143"/>
                  <a:gd name="connsiteY7" fmla="*/ 955202 h 2180598"/>
                  <a:gd name="connsiteX8" fmla="*/ 1087143 w 1087143"/>
                  <a:gd name="connsiteY8" fmla="*/ 1510244 h 2180598"/>
                  <a:gd name="connsiteX9" fmla="*/ 774143 w 1087143"/>
                  <a:gd name="connsiteY9" fmla="*/ 1955235 h 2180598"/>
                  <a:gd name="connsiteX10" fmla="*/ 219469 w 1087143"/>
                  <a:gd name="connsiteY10" fmla="*/ 2169522 h 2180598"/>
                  <a:gd name="connsiteX11" fmla="*/ 203080 w 1087143"/>
                  <a:gd name="connsiteY11" fmla="*/ 2180598 h 2180598"/>
                  <a:gd name="connsiteX12" fmla="*/ 186663 w 1087143"/>
                  <a:gd name="connsiteY12" fmla="*/ 2180598 h 2180598"/>
                  <a:gd name="connsiteX13" fmla="*/ 164483 w 1087143"/>
                  <a:gd name="connsiteY13" fmla="*/ 2180598 h 2180598"/>
                  <a:gd name="connsiteX14" fmla="*/ 104210 w 1087143"/>
                  <a:gd name="connsiteY14" fmla="*/ 2180598 h 2180598"/>
                  <a:gd name="connsiteX15" fmla="*/ 49224 w 1087143"/>
                  <a:gd name="connsiteY15" fmla="*/ 2147343 h 2180598"/>
                  <a:gd name="connsiteX16" fmla="*/ 27494 w 1087143"/>
                  <a:gd name="connsiteY16" fmla="*/ 2086989 h 2180598"/>
                  <a:gd name="connsiteX17" fmla="*/ 0 w 1087143"/>
                  <a:gd name="connsiteY17" fmla="*/ 2010247 h 2180598"/>
                  <a:gd name="connsiteX18" fmla="*/ 32808 w 1087143"/>
                  <a:gd name="connsiteY18" fmla="*/ 1922401 h 2180598"/>
                  <a:gd name="connsiteX19" fmla="*/ 109525 w 1087143"/>
                  <a:gd name="connsiteY19" fmla="*/ 1894882 h 2180598"/>
                  <a:gd name="connsiteX20" fmla="*/ 356909 w 1087143"/>
                  <a:gd name="connsiteY20" fmla="*/ 1801274 h 2180598"/>
                  <a:gd name="connsiteX21" fmla="*/ 751967 w 1087143"/>
                  <a:gd name="connsiteY21" fmla="*/ 1559915 h 2180598"/>
                  <a:gd name="connsiteX22" fmla="*/ 785220 w 1087143"/>
                  <a:gd name="connsiteY22" fmla="*/ 1026631 h 2180598"/>
                  <a:gd name="connsiteX23" fmla="*/ 214156 w 1087143"/>
                  <a:gd name="connsiteY23" fmla="*/ 1026631 h 2180598"/>
                  <a:gd name="connsiteX24" fmla="*/ 126363 w 1087143"/>
                  <a:gd name="connsiteY24" fmla="*/ 1026631 h 2180598"/>
                  <a:gd name="connsiteX25" fmla="*/ 60301 w 1087143"/>
                  <a:gd name="connsiteY25" fmla="*/ 960990 h 2180598"/>
                  <a:gd name="connsiteX26" fmla="*/ 60301 w 1087143"/>
                  <a:gd name="connsiteY26" fmla="*/ 873144 h 2180598"/>
                  <a:gd name="connsiteX27" fmla="*/ 60301 w 1087143"/>
                  <a:gd name="connsiteY27" fmla="*/ 159275 h 2180598"/>
                  <a:gd name="connsiteX28" fmla="*/ 60301 w 1087143"/>
                  <a:gd name="connsiteY28" fmla="*/ 71430 h 2180598"/>
                  <a:gd name="connsiteX29" fmla="*/ 126363 w 1087143"/>
                  <a:gd name="connsiteY29" fmla="*/ 0 h 2180598"/>
                  <a:gd name="connsiteX30" fmla="*/ 214156 w 1087143"/>
                  <a:gd name="connsiteY30" fmla="*/ 0 h 2180598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087143"/>
                  <a:gd name="connsiteY0" fmla="*/ 5291 h 2185889"/>
                  <a:gd name="connsiteX1" fmla="*/ 927552 w 1087143"/>
                  <a:gd name="connsiteY1" fmla="*/ 5291 h 2185889"/>
                  <a:gd name="connsiteX2" fmla="*/ 1015319 w 1087143"/>
                  <a:gd name="connsiteY2" fmla="*/ 5291 h 2185889"/>
                  <a:gd name="connsiteX3" fmla="*/ 1087143 w 1087143"/>
                  <a:gd name="connsiteY3" fmla="*/ 76721 h 2185889"/>
                  <a:gd name="connsiteX4" fmla="*/ 1087143 w 1087143"/>
                  <a:gd name="connsiteY4" fmla="*/ 164566 h 2185889"/>
                  <a:gd name="connsiteX5" fmla="*/ 1087143 w 1087143"/>
                  <a:gd name="connsiteY5" fmla="*/ 680565 h 2185889"/>
                  <a:gd name="connsiteX6" fmla="*/ 1087143 w 1087143"/>
                  <a:gd name="connsiteY6" fmla="*/ 702296 h 2185889"/>
                  <a:gd name="connsiteX7" fmla="*/ 1087143 w 1087143"/>
                  <a:gd name="connsiteY7" fmla="*/ 960493 h 2185889"/>
                  <a:gd name="connsiteX8" fmla="*/ 1087143 w 1087143"/>
                  <a:gd name="connsiteY8" fmla="*/ 1515535 h 2185889"/>
                  <a:gd name="connsiteX9" fmla="*/ 774143 w 1087143"/>
                  <a:gd name="connsiteY9" fmla="*/ 1960526 h 2185889"/>
                  <a:gd name="connsiteX10" fmla="*/ 219469 w 1087143"/>
                  <a:gd name="connsiteY10" fmla="*/ 2174813 h 2185889"/>
                  <a:gd name="connsiteX11" fmla="*/ 203080 w 1087143"/>
                  <a:gd name="connsiteY11" fmla="*/ 2185889 h 2185889"/>
                  <a:gd name="connsiteX12" fmla="*/ 186663 w 1087143"/>
                  <a:gd name="connsiteY12" fmla="*/ 2185889 h 2185889"/>
                  <a:gd name="connsiteX13" fmla="*/ 164483 w 1087143"/>
                  <a:gd name="connsiteY13" fmla="*/ 2185889 h 2185889"/>
                  <a:gd name="connsiteX14" fmla="*/ 104210 w 1087143"/>
                  <a:gd name="connsiteY14" fmla="*/ 2185889 h 2185889"/>
                  <a:gd name="connsiteX15" fmla="*/ 49224 w 1087143"/>
                  <a:gd name="connsiteY15" fmla="*/ 2152634 h 2185889"/>
                  <a:gd name="connsiteX16" fmla="*/ 27494 w 1087143"/>
                  <a:gd name="connsiteY16" fmla="*/ 2092280 h 2185889"/>
                  <a:gd name="connsiteX17" fmla="*/ 0 w 1087143"/>
                  <a:gd name="connsiteY17" fmla="*/ 2015538 h 2185889"/>
                  <a:gd name="connsiteX18" fmla="*/ 32808 w 1087143"/>
                  <a:gd name="connsiteY18" fmla="*/ 1927692 h 2185889"/>
                  <a:gd name="connsiteX19" fmla="*/ 109525 w 1087143"/>
                  <a:gd name="connsiteY19" fmla="*/ 1900173 h 2185889"/>
                  <a:gd name="connsiteX20" fmla="*/ 356909 w 1087143"/>
                  <a:gd name="connsiteY20" fmla="*/ 1806565 h 2185889"/>
                  <a:gd name="connsiteX21" fmla="*/ 751967 w 1087143"/>
                  <a:gd name="connsiteY21" fmla="*/ 1565206 h 2185889"/>
                  <a:gd name="connsiteX22" fmla="*/ 785220 w 1087143"/>
                  <a:gd name="connsiteY22" fmla="*/ 1031922 h 2185889"/>
                  <a:gd name="connsiteX23" fmla="*/ 214156 w 1087143"/>
                  <a:gd name="connsiteY23" fmla="*/ 1031922 h 2185889"/>
                  <a:gd name="connsiteX24" fmla="*/ 126363 w 1087143"/>
                  <a:gd name="connsiteY24" fmla="*/ 1031922 h 2185889"/>
                  <a:gd name="connsiteX25" fmla="*/ 60301 w 1087143"/>
                  <a:gd name="connsiteY25" fmla="*/ 966281 h 2185889"/>
                  <a:gd name="connsiteX26" fmla="*/ 60301 w 1087143"/>
                  <a:gd name="connsiteY26" fmla="*/ 878435 h 2185889"/>
                  <a:gd name="connsiteX27" fmla="*/ 60301 w 1087143"/>
                  <a:gd name="connsiteY27" fmla="*/ 164566 h 2185889"/>
                  <a:gd name="connsiteX28" fmla="*/ 60301 w 1087143"/>
                  <a:gd name="connsiteY28" fmla="*/ 76721 h 2185889"/>
                  <a:gd name="connsiteX29" fmla="*/ 126363 w 1087143"/>
                  <a:gd name="connsiteY29" fmla="*/ 5291 h 2185889"/>
                  <a:gd name="connsiteX30" fmla="*/ 214156 w 1087143"/>
                  <a:gd name="connsiteY30" fmla="*/ 5291 h 2185889"/>
                  <a:gd name="connsiteX0" fmla="*/ 214156 w 1110328"/>
                  <a:gd name="connsiteY0" fmla="*/ 5291 h 2185889"/>
                  <a:gd name="connsiteX1" fmla="*/ 927552 w 1110328"/>
                  <a:gd name="connsiteY1" fmla="*/ 5291 h 2185889"/>
                  <a:gd name="connsiteX2" fmla="*/ 1015319 w 1110328"/>
                  <a:gd name="connsiteY2" fmla="*/ 5291 h 2185889"/>
                  <a:gd name="connsiteX3" fmla="*/ 1087143 w 1110328"/>
                  <a:gd name="connsiteY3" fmla="*/ 76721 h 2185889"/>
                  <a:gd name="connsiteX4" fmla="*/ 1087143 w 1110328"/>
                  <a:gd name="connsiteY4" fmla="*/ 164566 h 2185889"/>
                  <a:gd name="connsiteX5" fmla="*/ 1087143 w 1110328"/>
                  <a:gd name="connsiteY5" fmla="*/ 680565 h 2185889"/>
                  <a:gd name="connsiteX6" fmla="*/ 1087143 w 1110328"/>
                  <a:gd name="connsiteY6" fmla="*/ 702296 h 2185889"/>
                  <a:gd name="connsiteX7" fmla="*/ 1087143 w 1110328"/>
                  <a:gd name="connsiteY7" fmla="*/ 960493 h 2185889"/>
                  <a:gd name="connsiteX8" fmla="*/ 1087143 w 1110328"/>
                  <a:gd name="connsiteY8" fmla="*/ 1515535 h 2185889"/>
                  <a:gd name="connsiteX9" fmla="*/ 774143 w 1110328"/>
                  <a:gd name="connsiteY9" fmla="*/ 1960526 h 2185889"/>
                  <a:gd name="connsiteX10" fmla="*/ 219469 w 1110328"/>
                  <a:gd name="connsiteY10" fmla="*/ 2174813 h 2185889"/>
                  <a:gd name="connsiteX11" fmla="*/ 203080 w 1110328"/>
                  <a:gd name="connsiteY11" fmla="*/ 2185889 h 2185889"/>
                  <a:gd name="connsiteX12" fmla="*/ 186663 w 1110328"/>
                  <a:gd name="connsiteY12" fmla="*/ 2185889 h 2185889"/>
                  <a:gd name="connsiteX13" fmla="*/ 164483 w 1110328"/>
                  <a:gd name="connsiteY13" fmla="*/ 2185889 h 2185889"/>
                  <a:gd name="connsiteX14" fmla="*/ 104210 w 1110328"/>
                  <a:gd name="connsiteY14" fmla="*/ 2185889 h 2185889"/>
                  <a:gd name="connsiteX15" fmla="*/ 49224 w 1110328"/>
                  <a:gd name="connsiteY15" fmla="*/ 2152634 h 2185889"/>
                  <a:gd name="connsiteX16" fmla="*/ 27494 w 1110328"/>
                  <a:gd name="connsiteY16" fmla="*/ 2092280 h 2185889"/>
                  <a:gd name="connsiteX17" fmla="*/ 0 w 1110328"/>
                  <a:gd name="connsiteY17" fmla="*/ 2015538 h 2185889"/>
                  <a:gd name="connsiteX18" fmla="*/ 32808 w 1110328"/>
                  <a:gd name="connsiteY18" fmla="*/ 1927692 h 2185889"/>
                  <a:gd name="connsiteX19" fmla="*/ 109525 w 1110328"/>
                  <a:gd name="connsiteY19" fmla="*/ 1900173 h 2185889"/>
                  <a:gd name="connsiteX20" fmla="*/ 356909 w 1110328"/>
                  <a:gd name="connsiteY20" fmla="*/ 1806565 h 2185889"/>
                  <a:gd name="connsiteX21" fmla="*/ 751967 w 1110328"/>
                  <a:gd name="connsiteY21" fmla="*/ 1565206 h 2185889"/>
                  <a:gd name="connsiteX22" fmla="*/ 785220 w 1110328"/>
                  <a:gd name="connsiteY22" fmla="*/ 1031922 h 2185889"/>
                  <a:gd name="connsiteX23" fmla="*/ 214156 w 1110328"/>
                  <a:gd name="connsiteY23" fmla="*/ 1031922 h 2185889"/>
                  <a:gd name="connsiteX24" fmla="*/ 126363 w 1110328"/>
                  <a:gd name="connsiteY24" fmla="*/ 1031922 h 2185889"/>
                  <a:gd name="connsiteX25" fmla="*/ 60301 w 1110328"/>
                  <a:gd name="connsiteY25" fmla="*/ 966281 h 2185889"/>
                  <a:gd name="connsiteX26" fmla="*/ 60301 w 1110328"/>
                  <a:gd name="connsiteY26" fmla="*/ 878435 h 2185889"/>
                  <a:gd name="connsiteX27" fmla="*/ 60301 w 1110328"/>
                  <a:gd name="connsiteY27" fmla="*/ 164566 h 2185889"/>
                  <a:gd name="connsiteX28" fmla="*/ 60301 w 1110328"/>
                  <a:gd name="connsiteY28" fmla="*/ 76721 h 2185889"/>
                  <a:gd name="connsiteX29" fmla="*/ 126363 w 1110328"/>
                  <a:gd name="connsiteY29" fmla="*/ 5291 h 2185889"/>
                  <a:gd name="connsiteX30" fmla="*/ 214156 w 1110328"/>
                  <a:gd name="connsiteY30" fmla="*/ 5291 h 2185889"/>
                  <a:gd name="connsiteX0" fmla="*/ 214156 w 1110328"/>
                  <a:gd name="connsiteY0" fmla="*/ 5291 h 2185889"/>
                  <a:gd name="connsiteX1" fmla="*/ 927552 w 1110328"/>
                  <a:gd name="connsiteY1" fmla="*/ 5291 h 2185889"/>
                  <a:gd name="connsiteX2" fmla="*/ 1015319 w 1110328"/>
                  <a:gd name="connsiteY2" fmla="*/ 5291 h 2185889"/>
                  <a:gd name="connsiteX3" fmla="*/ 1087143 w 1110328"/>
                  <a:gd name="connsiteY3" fmla="*/ 76721 h 2185889"/>
                  <a:gd name="connsiteX4" fmla="*/ 1087143 w 1110328"/>
                  <a:gd name="connsiteY4" fmla="*/ 164566 h 2185889"/>
                  <a:gd name="connsiteX5" fmla="*/ 1087143 w 1110328"/>
                  <a:gd name="connsiteY5" fmla="*/ 680565 h 2185889"/>
                  <a:gd name="connsiteX6" fmla="*/ 1087143 w 1110328"/>
                  <a:gd name="connsiteY6" fmla="*/ 702296 h 2185889"/>
                  <a:gd name="connsiteX7" fmla="*/ 1087143 w 1110328"/>
                  <a:gd name="connsiteY7" fmla="*/ 960493 h 2185889"/>
                  <a:gd name="connsiteX8" fmla="*/ 1087143 w 1110328"/>
                  <a:gd name="connsiteY8" fmla="*/ 1515535 h 2185889"/>
                  <a:gd name="connsiteX9" fmla="*/ 774143 w 1110328"/>
                  <a:gd name="connsiteY9" fmla="*/ 1960526 h 2185889"/>
                  <a:gd name="connsiteX10" fmla="*/ 219469 w 1110328"/>
                  <a:gd name="connsiteY10" fmla="*/ 2174813 h 2185889"/>
                  <a:gd name="connsiteX11" fmla="*/ 203080 w 1110328"/>
                  <a:gd name="connsiteY11" fmla="*/ 2185889 h 2185889"/>
                  <a:gd name="connsiteX12" fmla="*/ 186663 w 1110328"/>
                  <a:gd name="connsiteY12" fmla="*/ 2185889 h 2185889"/>
                  <a:gd name="connsiteX13" fmla="*/ 164483 w 1110328"/>
                  <a:gd name="connsiteY13" fmla="*/ 2185889 h 2185889"/>
                  <a:gd name="connsiteX14" fmla="*/ 104210 w 1110328"/>
                  <a:gd name="connsiteY14" fmla="*/ 2185889 h 2185889"/>
                  <a:gd name="connsiteX15" fmla="*/ 49224 w 1110328"/>
                  <a:gd name="connsiteY15" fmla="*/ 2152634 h 2185889"/>
                  <a:gd name="connsiteX16" fmla="*/ 27494 w 1110328"/>
                  <a:gd name="connsiteY16" fmla="*/ 2092280 h 2185889"/>
                  <a:gd name="connsiteX17" fmla="*/ 0 w 1110328"/>
                  <a:gd name="connsiteY17" fmla="*/ 2015538 h 2185889"/>
                  <a:gd name="connsiteX18" fmla="*/ 32808 w 1110328"/>
                  <a:gd name="connsiteY18" fmla="*/ 1927692 h 2185889"/>
                  <a:gd name="connsiteX19" fmla="*/ 109525 w 1110328"/>
                  <a:gd name="connsiteY19" fmla="*/ 1900173 h 2185889"/>
                  <a:gd name="connsiteX20" fmla="*/ 356909 w 1110328"/>
                  <a:gd name="connsiteY20" fmla="*/ 1806565 h 2185889"/>
                  <a:gd name="connsiteX21" fmla="*/ 751967 w 1110328"/>
                  <a:gd name="connsiteY21" fmla="*/ 1565206 h 2185889"/>
                  <a:gd name="connsiteX22" fmla="*/ 785220 w 1110328"/>
                  <a:gd name="connsiteY22" fmla="*/ 1031922 h 2185889"/>
                  <a:gd name="connsiteX23" fmla="*/ 214156 w 1110328"/>
                  <a:gd name="connsiteY23" fmla="*/ 1031922 h 2185889"/>
                  <a:gd name="connsiteX24" fmla="*/ 126363 w 1110328"/>
                  <a:gd name="connsiteY24" fmla="*/ 1031922 h 2185889"/>
                  <a:gd name="connsiteX25" fmla="*/ 60301 w 1110328"/>
                  <a:gd name="connsiteY25" fmla="*/ 966281 h 2185889"/>
                  <a:gd name="connsiteX26" fmla="*/ 60301 w 1110328"/>
                  <a:gd name="connsiteY26" fmla="*/ 878435 h 2185889"/>
                  <a:gd name="connsiteX27" fmla="*/ 60301 w 1110328"/>
                  <a:gd name="connsiteY27" fmla="*/ 164566 h 2185889"/>
                  <a:gd name="connsiteX28" fmla="*/ 60301 w 1110328"/>
                  <a:gd name="connsiteY28" fmla="*/ 76721 h 2185889"/>
                  <a:gd name="connsiteX29" fmla="*/ 126363 w 1110328"/>
                  <a:gd name="connsiteY29" fmla="*/ 5291 h 2185889"/>
                  <a:gd name="connsiteX30" fmla="*/ 214156 w 1110328"/>
                  <a:gd name="connsiteY30" fmla="*/ 5291 h 2185889"/>
                  <a:gd name="connsiteX0" fmla="*/ 214156 w 1110328"/>
                  <a:gd name="connsiteY0" fmla="*/ 5291 h 2194111"/>
                  <a:gd name="connsiteX1" fmla="*/ 927552 w 1110328"/>
                  <a:gd name="connsiteY1" fmla="*/ 5291 h 2194111"/>
                  <a:gd name="connsiteX2" fmla="*/ 1015319 w 1110328"/>
                  <a:gd name="connsiteY2" fmla="*/ 5291 h 2194111"/>
                  <a:gd name="connsiteX3" fmla="*/ 1087143 w 1110328"/>
                  <a:gd name="connsiteY3" fmla="*/ 76721 h 2194111"/>
                  <a:gd name="connsiteX4" fmla="*/ 1087143 w 1110328"/>
                  <a:gd name="connsiteY4" fmla="*/ 164566 h 2194111"/>
                  <a:gd name="connsiteX5" fmla="*/ 1087143 w 1110328"/>
                  <a:gd name="connsiteY5" fmla="*/ 680565 h 2194111"/>
                  <a:gd name="connsiteX6" fmla="*/ 1087143 w 1110328"/>
                  <a:gd name="connsiteY6" fmla="*/ 702296 h 2194111"/>
                  <a:gd name="connsiteX7" fmla="*/ 1087143 w 1110328"/>
                  <a:gd name="connsiteY7" fmla="*/ 960493 h 2194111"/>
                  <a:gd name="connsiteX8" fmla="*/ 1087143 w 1110328"/>
                  <a:gd name="connsiteY8" fmla="*/ 1515535 h 2194111"/>
                  <a:gd name="connsiteX9" fmla="*/ 774143 w 1110328"/>
                  <a:gd name="connsiteY9" fmla="*/ 1960526 h 2194111"/>
                  <a:gd name="connsiteX10" fmla="*/ 219469 w 1110328"/>
                  <a:gd name="connsiteY10" fmla="*/ 2174813 h 2194111"/>
                  <a:gd name="connsiteX11" fmla="*/ 203080 w 1110328"/>
                  <a:gd name="connsiteY11" fmla="*/ 2185889 h 2194111"/>
                  <a:gd name="connsiteX12" fmla="*/ 186663 w 1110328"/>
                  <a:gd name="connsiteY12" fmla="*/ 2185889 h 2194111"/>
                  <a:gd name="connsiteX13" fmla="*/ 164483 w 1110328"/>
                  <a:gd name="connsiteY13" fmla="*/ 2185889 h 2194111"/>
                  <a:gd name="connsiteX14" fmla="*/ 104210 w 1110328"/>
                  <a:gd name="connsiteY14" fmla="*/ 2185889 h 2194111"/>
                  <a:gd name="connsiteX15" fmla="*/ 49224 w 1110328"/>
                  <a:gd name="connsiteY15" fmla="*/ 2152634 h 2194111"/>
                  <a:gd name="connsiteX16" fmla="*/ 27494 w 1110328"/>
                  <a:gd name="connsiteY16" fmla="*/ 2092280 h 2194111"/>
                  <a:gd name="connsiteX17" fmla="*/ 0 w 1110328"/>
                  <a:gd name="connsiteY17" fmla="*/ 2015538 h 2194111"/>
                  <a:gd name="connsiteX18" fmla="*/ 32808 w 1110328"/>
                  <a:gd name="connsiteY18" fmla="*/ 1927692 h 2194111"/>
                  <a:gd name="connsiteX19" fmla="*/ 109525 w 1110328"/>
                  <a:gd name="connsiteY19" fmla="*/ 1900173 h 2194111"/>
                  <a:gd name="connsiteX20" fmla="*/ 356909 w 1110328"/>
                  <a:gd name="connsiteY20" fmla="*/ 1806565 h 2194111"/>
                  <a:gd name="connsiteX21" fmla="*/ 751967 w 1110328"/>
                  <a:gd name="connsiteY21" fmla="*/ 1565206 h 2194111"/>
                  <a:gd name="connsiteX22" fmla="*/ 785220 w 1110328"/>
                  <a:gd name="connsiteY22" fmla="*/ 1031922 h 2194111"/>
                  <a:gd name="connsiteX23" fmla="*/ 214156 w 1110328"/>
                  <a:gd name="connsiteY23" fmla="*/ 1031922 h 2194111"/>
                  <a:gd name="connsiteX24" fmla="*/ 126363 w 1110328"/>
                  <a:gd name="connsiteY24" fmla="*/ 1031922 h 2194111"/>
                  <a:gd name="connsiteX25" fmla="*/ 60301 w 1110328"/>
                  <a:gd name="connsiteY25" fmla="*/ 966281 h 2194111"/>
                  <a:gd name="connsiteX26" fmla="*/ 60301 w 1110328"/>
                  <a:gd name="connsiteY26" fmla="*/ 878435 h 2194111"/>
                  <a:gd name="connsiteX27" fmla="*/ 60301 w 1110328"/>
                  <a:gd name="connsiteY27" fmla="*/ 164566 h 2194111"/>
                  <a:gd name="connsiteX28" fmla="*/ 60301 w 1110328"/>
                  <a:gd name="connsiteY28" fmla="*/ 76721 h 2194111"/>
                  <a:gd name="connsiteX29" fmla="*/ 126363 w 1110328"/>
                  <a:gd name="connsiteY29" fmla="*/ 5291 h 2194111"/>
                  <a:gd name="connsiteX30" fmla="*/ 214156 w 1110328"/>
                  <a:gd name="connsiteY30" fmla="*/ 5291 h 2194111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6221 w 1112393"/>
                  <a:gd name="connsiteY0" fmla="*/ 5291 h 2194956"/>
                  <a:gd name="connsiteX1" fmla="*/ 929617 w 1112393"/>
                  <a:gd name="connsiteY1" fmla="*/ 5291 h 2194956"/>
                  <a:gd name="connsiteX2" fmla="*/ 1017384 w 1112393"/>
                  <a:gd name="connsiteY2" fmla="*/ 5291 h 2194956"/>
                  <a:gd name="connsiteX3" fmla="*/ 1089208 w 1112393"/>
                  <a:gd name="connsiteY3" fmla="*/ 76721 h 2194956"/>
                  <a:gd name="connsiteX4" fmla="*/ 1089208 w 1112393"/>
                  <a:gd name="connsiteY4" fmla="*/ 164566 h 2194956"/>
                  <a:gd name="connsiteX5" fmla="*/ 1089208 w 1112393"/>
                  <a:gd name="connsiteY5" fmla="*/ 680565 h 2194956"/>
                  <a:gd name="connsiteX6" fmla="*/ 1089208 w 1112393"/>
                  <a:gd name="connsiteY6" fmla="*/ 702296 h 2194956"/>
                  <a:gd name="connsiteX7" fmla="*/ 1089208 w 1112393"/>
                  <a:gd name="connsiteY7" fmla="*/ 960493 h 2194956"/>
                  <a:gd name="connsiteX8" fmla="*/ 1089208 w 1112393"/>
                  <a:gd name="connsiteY8" fmla="*/ 1515535 h 2194956"/>
                  <a:gd name="connsiteX9" fmla="*/ 776208 w 1112393"/>
                  <a:gd name="connsiteY9" fmla="*/ 1960526 h 2194956"/>
                  <a:gd name="connsiteX10" fmla="*/ 221534 w 1112393"/>
                  <a:gd name="connsiteY10" fmla="*/ 2174813 h 2194956"/>
                  <a:gd name="connsiteX11" fmla="*/ 205145 w 1112393"/>
                  <a:gd name="connsiteY11" fmla="*/ 2185889 h 2194956"/>
                  <a:gd name="connsiteX12" fmla="*/ 188728 w 1112393"/>
                  <a:gd name="connsiteY12" fmla="*/ 2185889 h 2194956"/>
                  <a:gd name="connsiteX13" fmla="*/ 166548 w 1112393"/>
                  <a:gd name="connsiteY13" fmla="*/ 2185889 h 2194956"/>
                  <a:gd name="connsiteX14" fmla="*/ 106275 w 1112393"/>
                  <a:gd name="connsiteY14" fmla="*/ 2185889 h 2194956"/>
                  <a:gd name="connsiteX15" fmla="*/ 51289 w 1112393"/>
                  <a:gd name="connsiteY15" fmla="*/ 2152634 h 2194956"/>
                  <a:gd name="connsiteX16" fmla="*/ 29559 w 1112393"/>
                  <a:gd name="connsiteY16" fmla="*/ 2092280 h 2194956"/>
                  <a:gd name="connsiteX17" fmla="*/ 2065 w 1112393"/>
                  <a:gd name="connsiteY17" fmla="*/ 2015538 h 2194956"/>
                  <a:gd name="connsiteX18" fmla="*/ 34873 w 1112393"/>
                  <a:gd name="connsiteY18" fmla="*/ 1927692 h 2194956"/>
                  <a:gd name="connsiteX19" fmla="*/ 111590 w 1112393"/>
                  <a:gd name="connsiteY19" fmla="*/ 1900173 h 2194956"/>
                  <a:gd name="connsiteX20" fmla="*/ 358974 w 1112393"/>
                  <a:gd name="connsiteY20" fmla="*/ 1806565 h 2194956"/>
                  <a:gd name="connsiteX21" fmla="*/ 754032 w 1112393"/>
                  <a:gd name="connsiteY21" fmla="*/ 1565206 h 2194956"/>
                  <a:gd name="connsiteX22" fmla="*/ 787285 w 1112393"/>
                  <a:gd name="connsiteY22" fmla="*/ 1031922 h 2194956"/>
                  <a:gd name="connsiteX23" fmla="*/ 216221 w 1112393"/>
                  <a:gd name="connsiteY23" fmla="*/ 1031922 h 2194956"/>
                  <a:gd name="connsiteX24" fmla="*/ 128428 w 1112393"/>
                  <a:gd name="connsiteY24" fmla="*/ 1031922 h 2194956"/>
                  <a:gd name="connsiteX25" fmla="*/ 62366 w 1112393"/>
                  <a:gd name="connsiteY25" fmla="*/ 966281 h 2194956"/>
                  <a:gd name="connsiteX26" fmla="*/ 62366 w 1112393"/>
                  <a:gd name="connsiteY26" fmla="*/ 878435 h 2194956"/>
                  <a:gd name="connsiteX27" fmla="*/ 62366 w 1112393"/>
                  <a:gd name="connsiteY27" fmla="*/ 164566 h 2194956"/>
                  <a:gd name="connsiteX28" fmla="*/ 62366 w 1112393"/>
                  <a:gd name="connsiteY28" fmla="*/ 76721 h 2194956"/>
                  <a:gd name="connsiteX29" fmla="*/ 128428 w 1112393"/>
                  <a:gd name="connsiteY29" fmla="*/ 5291 h 2194956"/>
                  <a:gd name="connsiteX30" fmla="*/ 216221 w 1112393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5291 h 2194956"/>
                  <a:gd name="connsiteX1" fmla="*/ 927552 w 1110328"/>
                  <a:gd name="connsiteY1" fmla="*/ 5291 h 2194956"/>
                  <a:gd name="connsiteX2" fmla="*/ 1015319 w 1110328"/>
                  <a:gd name="connsiteY2" fmla="*/ 5291 h 2194956"/>
                  <a:gd name="connsiteX3" fmla="*/ 1087143 w 1110328"/>
                  <a:gd name="connsiteY3" fmla="*/ 76721 h 2194956"/>
                  <a:gd name="connsiteX4" fmla="*/ 1087143 w 1110328"/>
                  <a:gd name="connsiteY4" fmla="*/ 164566 h 2194956"/>
                  <a:gd name="connsiteX5" fmla="*/ 1087143 w 1110328"/>
                  <a:gd name="connsiteY5" fmla="*/ 680565 h 2194956"/>
                  <a:gd name="connsiteX6" fmla="*/ 1087143 w 1110328"/>
                  <a:gd name="connsiteY6" fmla="*/ 702296 h 2194956"/>
                  <a:gd name="connsiteX7" fmla="*/ 1087143 w 1110328"/>
                  <a:gd name="connsiteY7" fmla="*/ 960493 h 2194956"/>
                  <a:gd name="connsiteX8" fmla="*/ 1087143 w 1110328"/>
                  <a:gd name="connsiteY8" fmla="*/ 1515535 h 2194956"/>
                  <a:gd name="connsiteX9" fmla="*/ 774143 w 1110328"/>
                  <a:gd name="connsiteY9" fmla="*/ 1960526 h 2194956"/>
                  <a:gd name="connsiteX10" fmla="*/ 219469 w 1110328"/>
                  <a:gd name="connsiteY10" fmla="*/ 2174813 h 2194956"/>
                  <a:gd name="connsiteX11" fmla="*/ 203080 w 1110328"/>
                  <a:gd name="connsiteY11" fmla="*/ 2185889 h 2194956"/>
                  <a:gd name="connsiteX12" fmla="*/ 186663 w 1110328"/>
                  <a:gd name="connsiteY12" fmla="*/ 2185889 h 2194956"/>
                  <a:gd name="connsiteX13" fmla="*/ 164483 w 1110328"/>
                  <a:gd name="connsiteY13" fmla="*/ 2185889 h 2194956"/>
                  <a:gd name="connsiteX14" fmla="*/ 104210 w 1110328"/>
                  <a:gd name="connsiteY14" fmla="*/ 2185889 h 2194956"/>
                  <a:gd name="connsiteX15" fmla="*/ 49224 w 1110328"/>
                  <a:gd name="connsiteY15" fmla="*/ 2152634 h 2194956"/>
                  <a:gd name="connsiteX16" fmla="*/ 27494 w 1110328"/>
                  <a:gd name="connsiteY16" fmla="*/ 2092280 h 2194956"/>
                  <a:gd name="connsiteX17" fmla="*/ 0 w 1110328"/>
                  <a:gd name="connsiteY17" fmla="*/ 2015538 h 2194956"/>
                  <a:gd name="connsiteX18" fmla="*/ 32808 w 1110328"/>
                  <a:gd name="connsiteY18" fmla="*/ 1927692 h 2194956"/>
                  <a:gd name="connsiteX19" fmla="*/ 109525 w 1110328"/>
                  <a:gd name="connsiteY19" fmla="*/ 1900173 h 2194956"/>
                  <a:gd name="connsiteX20" fmla="*/ 356909 w 1110328"/>
                  <a:gd name="connsiteY20" fmla="*/ 1806565 h 2194956"/>
                  <a:gd name="connsiteX21" fmla="*/ 751967 w 1110328"/>
                  <a:gd name="connsiteY21" fmla="*/ 1565206 h 2194956"/>
                  <a:gd name="connsiteX22" fmla="*/ 785220 w 1110328"/>
                  <a:gd name="connsiteY22" fmla="*/ 1031922 h 2194956"/>
                  <a:gd name="connsiteX23" fmla="*/ 214156 w 1110328"/>
                  <a:gd name="connsiteY23" fmla="*/ 1031922 h 2194956"/>
                  <a:gd name="connsiteX24" fmla="*/ 126363 w 1110328"/>
                  <a:gd name="connsiteY24" fmla="*/ 1031922 h 2194956"/>
                  <a:gd name="connsiteX25" fmla="*/ 60301 w 1110328"/>
                  <a:gd name="connsiteY25" fmla="*/ 966281 h 2194956"/>
                  <a:gd name="connsiteX26" fmla="*/ 60301 w 1110328"/>
                  <a:gd name="connsiteY26" fmla="*/ 878435 h 2194956"/>
                  <a:gd name="connsiteX27" fmla="*/ 60301 w 1110328"/>
                  <a:gd name="connsiteY27" fmla="*/ 164566 h 2194956"/>
                  <a:gd name="connsiteX28" fmla="*/ 60301 w 1110328"/>
                  <a:gd name="connsiteY28" fmla="*/ 76721 h 2194956"/>
                  <a:gd name="connsiteX29" fmla="*/ 126363 w 1110328"/>
                  <a:gd name="connsiteY29" fmla="*/ 5291 h 2194956"/>
                  <a:gd name="connsiteX30" fmla="*/ 214156 w 1110328"/>
                  <a:gd name="connsiteY30" fmla="*/ 5291 h 2194956"/>
                  <a:gd name="connsiteX0" fmla="*/ 214156 w 1110328"/>
                  <a:gd name="connsiteY0" fmla="*/ 9224 h 2198889"/>
                  <a:gd name="connsiteX1" fmla="*/ 927552 w 1110328"/>
                  <a:gd name="connsiteY1" fmla="*/ 9224 h 2198889"/>
                  <a:gd name="connsiteX2" fmla="*/ 1015319 w 1110328"/>
                  <a:gd name="connsiteY2" fmla="*/ 9224 h 2198889"/>
                  <a:gd name="connsiteX3" fmla="*/ 1087143 w 1110328"/>
                  <a:gd name="connsiteY3" fmla="*/ 80654 h 2198889"/>
                  <a:gd name="connsiteX4" fmla="*/ 1087143 w 1110328"/>
                  <a:gd name="connsiteY4" fmla="*/ 168499 h 2198889"/>
                  <a:gd name="connsiteX5" fmla="*/ 1087143 w 1110328"/>
                  <a:gd name="connsiteY5" fmla="*/ 684498 h 2198889"/>
                  <a:gd name="connsiteX6" fmla="*/ 1087143 w 1110328"/>
                  <a:gd name="connsiteY6" fmla="*/ 706229 h 2198889"/>
                  <a:gd name="connsiteX7" fmla="*/ 1087143 w 1110328"/>
                  <a:gd name="connsiteY7" fmla="*/ 964426 h 2198889"/>
                  <a:gd name="connsiteX8" fmla="*/ 1087143 w 1110328"/>
                  <a:gd name="connsiteY8" fmla="*/ 1519468 h 2198889"/>
                  <a:gd name="connsiteX9" fmla="*/ 774143 w 1110328"/>
                  <a:gd name="connsiteY9" fmla="*/ 1964459 h 2198889"/>
                  <a:gd name="connsiteX10" fmla="*/ 219469 w 1110328"/>
                  <a:gd name="connsiteY10" fmla="*/ 2178746 h 2198889"/>
                  <a:gd name="connsiteX11" fmla="*/ 203080 w 1110328"/>
                  <a:gd name="connsiteY11" fmla="*/ 2189822 h 2198889"/>
                  <a:gd name="connsiteX12" fmla="*/ 186663 w 1110328"/>
                  <a:gd name="connsiteY12" fmla="*/ 2189822 h 2198889"/>
                  <a:gd name="connsiteX13" fmla="*/ 164483 w 1110328"/>
                  <a:gd name="connsiteY13" fmla="*/ 2189822 h 2198889"/>
                  <a:gd name="connsiteX14" fmla="*/ 104210 w 1110328"/>
                  <a:gd name="connsiteY14" fmla="*/ 2189822 h 2198889"/>
                  <a:gd name="connsiteX15" fmla="*/ 49224 w 1110328"/>
                  <a:gd name="connsiteY15" fmla="*/ 2156567 h 2198889"/>
                  <a:gd name="connsiteX16" fmla="*/ 27494 w 1110328"/>
                  <a:gd name="connsiteY16" fmla="*/ 2096213 h 2198889"/>
                  <a:gd name="connsiteX17" fmla="*/ 0 w 1110328"/>
                  <a:gd name="connsiteY17" fmla="*/ 2019471 h 2198889"/>
                  <a:gd name="connsiteX18" fmla="*/ 32808 w 1110328"/>
                  <a:gd name="connsiteY18" fmla="*/ 1931625 h 2198889"/>
                  <a:gd name="connsiteX19" fmla="*/ 109525 w 1110328"/>
                  <a:gd name="connsiteY19" fmla="*/ 1904106 h 2198889"/>
                  <a:gd name="connsiteX20" fmla="*/ 356909 w 1110328"/>
                  <a:gd name="connsiteY20" fmla="*/ 1810498 h 2198889"/>
                  <a:gd name="connsiteX21" fmla="*/ 751967 w 1110328"/>
                  <a:gd name="connsiteY21" fmla="*/ 1569139 h 2198889"/>
                  <a:gd name="connsiteX22" fmla="*/ 785220 w 1110328"/>
                  <a:gd name="connsiteY22" fmla="*/ 1035855 h 2198889"/>
                  <a:gd name="connsiteX23" fmla="*/ 214156 w 1110328"/>
                  <a:gd name="connsiteY23" fmla="*/ 1035855 h 2198889"/>
                  <a:gd name="connsiteX24" fmla="*/ 126363 w 1110328"/>
                  <a:gd name="connsiteY24" fmla="*/ 1035855 h 2198889"/>
                  <a:gd name="connsiteX25" fmla="*/ 60301 w 1110328"/>
                  <a:gd name="connsiteY25" fmla="*/ 970214 h 2198889"/>
                  <a:gd name="connsiteX26" fmla="*/ 60301 w 1110328"/>
                  <a:gd name="connsiteY26" fmla="*/ 882368 h 2198889"/>
                  <a:gd name="connsiteX27" fmla="*/ 60301 w 1110328"/>
                  <a:gd name="connsiteY27" fmla="*/ 168499 h 2198889"/>
                  <a:gd name="connsiteX28" fmla="*/ 60301 w 1110328"/>
                  <a:gd name="connsiteY28" fmla="*/ 80654 h 2198889"/>
                  <a:gd name="connsiteX29" fmla="*/ 126363 w 1110328"/>
                  <a:gd name="connsiteY29" fmla="*/ 9224 h 2198889"/>
                  <a:gd name="connsiteX30" fmla="*/ 214156 w 1110328"/>
                  <a:gd name="connsiteY30" fmla="*/ 9224 h 2198889"/>
                  <a:gd name="connsiteX0" fmla="*/ 214156 w 1110328"/>
                  <a:gd name="connsiteY0" fmla="*/ 5292 h 2194957"/>
                  <a:gd name="connsiteX1" fmla="*/ 927552 w 1110328"/>
                  <a:gd name="connsiteY1" fmla="*/ 5292 h 2194957"/>
                  <a:gd name="connsiteX2" fmla="*/ 1015319 w 1110328"/>
                  <a:gd name="connsiteY2" fmla="*/ 5292 h 2194957"/>
                  <a:gd name="connsiteX3" fmla="*/ 1087143 w 1110328"/>
                  <a:gd name="connsiteY3" fmla="*/ 76722 h 2194957"/>
                  <a:gd name="connsiteX4" fmla="*/ 1087143 w 1110328"/>
                  <a:gd name="connsiteY4" fmla="*/ 164567 h 2194957"/>
                  <a:gd name="connsiteX5" fmla="*/ 1087143 w 1110328"/>
                  <a:gd name="connsiteY5" fmla="*/ 680566 h 2194957"/>
                  <a:gd name="connsiteX6" fmla="*/ 1087143 w 1110328"/>
                  <a:gd name="connsiteY6" fmla="*/ 702297 h 2194957"/>
                  <a:gd name="connsiteX7" fmla="*/ 1087143 w 1110328"/>
                  <a:gd name="connsiteY7" fmla="*/ 960494 h 2194957"/>
                  <a:gd name="connsiteX8" fmla="*/ 1087143 w 1110328"/>
                  <a:gd name="connsiteY8" fmla="*/ 1515536 h 2194957"/>
                  <a:gd name="connsiteX9" fmla="*/ 774143 w 1110328"/>
                  <a:gd name="connsiteY9" fmla="*/ 1960527 h 2194957"/>
                  <a:gd name="connsiteX10" fmla="*/ 219469 w 1110328"/>
                  <a:gd name="connsiteY10" fmla="*/ 2174814 h 2194957"/>
                  <a:gd name="connsiteX11" fmla="*/ 203080 w 1110328"/>
                  <a:gd name="connsiteY11" fmla="*/ 2185890 h 2194957"/>
                  <a:gd name="connsiteX12" fmla="*/ 186663 w 1110328"/>
                  <a:gd name="connsiteY12" fmla="*/ 2185890 h 2194957"/>
                  <a:gd name="connsiteX13" fmla="*/ 164483 w 1110328"/>
                  <a:gd name="connsiteY13" fmla="*/ 2185890 h 2194957"/>
                  <a:gd name="connsiteX14" fmla="*/ 104210 w 1110328"/>
                  <a:gd name="connsiteY14" fmla="*/ 2185890 h 2194957"/>
                  <a:gd name="connsiteX15" fmla="*/ 49224 w 1110328"/>
                  <a:gd name="connsiteY15" fmla="*/ 2152635 h 2194957"/>
                  <a:gd name="connsiteX16" fmla="*/ 27494 w 1110328"/>
                  <a:gd name="connsiteY16" fmla="*/ 2092281 h 2194957"/>
                  <a:gd name="connsiteX17" fmla="*/ 0 w 1110328"/>
                  <a:gd name="connsiteY17" fmla="*/ 2015539 h 2194957"/>
                  <a:gd name="connsiteX18" fmla="*/ 32808 w 1110328"/>
                  <a:gd name="connsiteY18" fmla="*/ 1927693 h 2194957"/>
                  <a:gd name="connsiteX19" fmla="*/ 109525 w 1110328"/>
                  <a:gd name="connsiteY19" fmla="*/ 1900174 h 2194957"/>
                  <a:gd name="connsiteX20" fmla="*/ 356909 w 1110328"/>
                  <a:gd name="connsiteY20" fmla="*/ 1806566 h 2194957"/>
                  <a:gd name="connsiteX21" fmla="*/ 751967 w 1110328"/>
                  <a:gd name="connsiteY21" fmla="*/ 1565207 h 2194957"/>
                  <a:gd name="connsiteX22" fmla="*/ 785220 w 1110328"/>
                  <a:gd name="connsiteY22" fmla="*/ 1031923 h 2194957"/>
                  <a:gd name="connsiteX23" fmla="*/ 214156 w 1110328"/>
                  <a:gd name="connsiteY23" fmla="*/ 1031923 h 2194957"/>
                  <a:gd name="connsiteX24" fmla="*/ 126363 w 1110328"/>
                  <a:gd name="connsiteY24" fmla="*/ 1031923 h 2194957"/>
                  <a:gd name="connsiteX25" fmla="*/ 60301 w 1110328"/>
                  <a:gd name="connsiteY25" fmla="*/ 966282 h 2194957"/>
                  <a:gd name="connsiteX26" fmla="*/ 60301 w 1110328"/>
                  <a:gd name="connsiteY26" fmla="*/ 878436 h 2194957"/>
                  <a:gd name="connsiteX27" fmla="*/ 60301 w 1110328"/>
                  <a:gd name="connsiteY27" fmla="*/ 164567 h 2194957"/>
                  <a:gd name="connsiteX28" fmla="*/ 60301 w 1110328"/>
                  <a:gd name="connsiteY28" fmla="*/ 76722 h 2194957"/>
                  <a:gd name="connsiteX29" fmla="*/ 126363 w 1110328"/>
                  <a:gd name="connsiteY29" fmla="*/ 5292 h 2194957"/>
                  <a:gd name="connsiteX30" fmla="*/ 214156 w 1110328"/>
                  <a:gd name="connsiteY30" fmla="*/ 5292 h 2194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110328" h="2194957">
                    <a:moveTo>
                      <a:pt x="214156" y="5292"/>
                    </a:moveTo>
                    <a:lnTo>
                      <a:pt x="927552" y="5292"/>
                    </a:lnTo>
                    <a:cubicBezTo>
                      <a:pt x="1061079" y="5292"/>
                      <a:pt x="988721" y="-6613"/>
                      <a:pt x="1015319" y="5292"/>
                    </a:cubicBezTo>
                    <a:cubicBezTo>
                      <a:pt x="1041917" y="17197"/>
                      <a:pt x="1087143" y="47602"/>
                      <a:pt x="1087143" y="76722"/>
                    </a:cubicBezTo>
                    <a:lnTo>
                      <a:pt x="1087143" y="164567"/>
                    </a:lnTo>
                    <a:lnTo>
                      <a:pt x="1087143" y="680566"/>
                    </a:lnTo>
                    <a:lnTo>
                      <a:pt x="1087143" y="702297"/>
                    </a:lnTo>
                    <a:lnTo>
                      <a:pt x="1087143" y="960494"/>
                    </a:lnTo>
                    <a:cubicBezTo>
                      <a:pt x="1087143" y="1096034"/>
                      <a:pt x="1139310" y="1348864"/>
                      <a:pt x="1087143" y="1515536"/>
                    </a:cubicBezTo>
                    <a:cubicBezTo>
                      <a:pt x="1034976" y="1682208"/>
                      <a:pt x="943561" y="1895076"/>
                      <a:pt x="774143" y="1960527"/>
                    </a:cubicBezTo>
                    <a:lnTo>
                      <a:pt x="219469" y="2174814"/>
                    </a:lnTo>
                    <a:cubicBezTo>
                      <a:pt x="124292" y="2212375"/>
                      <a:pt x="208851" y="2185890"/>
                      <a:pt x="203080" y="2185890"/>
                    </a:cubicBezTo>
                    <a:lnTo>
                      <a:pt x="186663" y="2185890"/>
                    </a:lnTo>
                    <a:lnTo>
                      <a:pt x="164483" y="2185890"/>
                    </a:lnTo>
                    <a:cubicBezTo>
                      <a:pt x="150741" y="2185890"/>
                      <a:pt x="121318" y="2196237"/>
                      <a:pt x="104210" y="2185890"/>
                    </a:cubicBezTo>
                    <a:lnTo>
                      <a:pt x="49224" y="2152635"/>
                    </a:lnTo>
                    <a:cubicBezTo>
                      <a:pt x="36438" y="2137034"/>
                      <a:pt x="35682" y="2115136"/>
                      <a:pt x="27494" y="2092281"/>
                    </a:cubicBezTo>
                    <a:lnTo>
                      <a:pt x="0" y="2015539"/>
                    </a:lnTo>
                    <a:cubicBezTo>
                      <a:pt x="886" y="1988108"/>
                      <a:pt x="7853" y="1936645"/>
                      <a:pt x="32808" y="1927693"/>
                    </a:cubicBezTo>
                    <a:lnTo>
                      <a:pt x="109525" y="1900174"/>
                    </a:lnTo>
                    <a:cubicBezTo>
                      <a:pt x="163542" y="1879986"/>
                      <a:pt x="253864" y="1869521"/>
                      <a:pt x="356909" y="1806566"/>
                    </a:cubicBezTo>
                    <a:lnTo>
                      <a:pt x="751967" y="1565207"/>
                    </a:lnTo>
                    <a:cubicBezTo>
                      <a:pt x="823352" y="1436100"/>
                      <a:pt x="911451" y="1031923"/>
                      <a:pt x="785220" y="1031923"/>
                    </a:cubicBezTo>
                    <a:lnTo>
                      <a:pt x="214156" y="1031923"/>
                    </a:lnTo>
                    <a:cubicBezTo>
                      <a:pt x="104347" y="1031923"/>
                      <a:pt x="152006" y="1042863"/>
                      <a:pt x="126363" y="1031923"/>
                    </a:cubicBezTo>
                    <a:cubicBezTo>
                      <a:pt x="100721" y="1020983"/>
                      <a:pt x="60301" y="994132"/>
                      <a:pt x="60301" y="966282"/>
                    </a:cubicBezTo>
                    <a:lnTo>
                      <a:pt x="60301" y="878436"/>
                    </a:lnTo>
                    <a:lnTo>
                      <a:pt x="60301" y="164567"/>
                    </a:lnTo>
                    <a:cubicBezTo>
                      <a:pt x="60301" y="30948"/>
                      <a:pt x="40788" y="97820"/>
                      <a:pt x="60301" y="76722"/>
                    </a:cubicBezTo>
                    <a:lnTo>
                      <a:pt x="126363" y="5292"/>
                    </a:lnTo>
                    <a:cubicBezTo>
                      <a:pt x="152005" y="-6613"/>
                      <a:pt x="80625" y="5292"/>
                      <a:pt x="214156" y="5292"/>
                    </a:cubicBezTo>
                    <a:close/>
                  </a:path>
                </a:pathLst>
              </a:custGeom>
              <a:grpFill/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400"/>
                  </a:spcBef>
                  <a:spcAft>
                    <a:spcPts val="400"/>
                  </a:spcAft>
                </a:pPr>
                <a:endParaRPr lang="en-US" sz="2133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243" name="QuestionMarkWhite" hidden="1">
            <a:extLst>
              <a:ext uri="{FF2B5EF4-FFF2-40B4-BE49-F238E27FC236}">
                <a16:creationId xmlns:a16="http://schemas.microsoft.com/office/drawing/2014/main" id="{1F44A5D7-E071-4467-83DD-F27D9875DB7A}"/>
              </a:ext>
            </a:extLst>
          </p:cNvPr>
          <p:cNvGrpSpPr>
            <a:grpSpLocks noChangeAspect="1"/>
          </p:cNvGrpSpPr>
          <p:nvPr userDrawn="1">
            <p:custDataLst>
              <p:tags r:id="rId42"/>
            </p:custDataLst>
          </p:nvPr>
        </p:nvGrpSpPr>
        <p:grpSpPr>
          <a:xfrm>
            <a:off x="13789377" y="5818293"/>
            <a:ext cx="528304" cy="528304"/>
            <a:chOff x="1016000" y="1016000"/>
            <a:chExt cx="396228" cy="396228"/>
          </a:xfrm>
        </p:grpSpPr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A3D4854A-663A-4143-8FB2-564781A0FFB5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AFE4D74F-65BF-4B33-B63A-34F052E14E2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2162" y="1079748"/>
              <a:ext cx="100148" cy="264489"/>
            </a:xfrm>
            <a:custGeom>
              <a:avLst/>
              <a:gdLst/>
              <a:ahLst/>
              <a:cxnLst/>
              <a:rect l="0" t="0" r="0" b="0"/>
              <a:pathLst>
                <a:path w="100209" h="264650">
                  <a:moveTo>
                    <a:pt x="50808" y="192298"/>
                  </a:moveTo>
                  <a:lnTo>
                    <a:pt x="48235" y="192298"/>
                  </a:lnTo>
                  <a:lnTo>
                    <a:pt x="46185" y="190247"/>
                  </a:lnTo>
                  <a:lnTo>
                    <a:pt x="46185" y="187673"/>
                  </a:lnTo>
                  <a:lnTo>
                    <a:pt x="46185" y="168582"/>
                  </a:lnTo>
                  <a:lnTo>
                    <a:pt x="46185" y="154191"/>
                  </a:lnTo>
                  <a:lnTo>
                    <a:pt x="46466" y="142253"/>
                  </a:lnTo>
                  <a:lnTo>
                    <a:pt x="49803" y="130154"/>
                  </a:lnTo>
                  <a:lnTo>
                    <a:pt x="53501" y="116809"/>
                  </a:lnTo>
                  <a:lnTo>
                    <a:pt x="60615" y="104951"/>
                  </a:lnTo>
                  <a:lnTo>
                    <a:pt x="72231" y="92812"/>
                  </a:lnTo>
                  <a:lnTo>
                    <a:pt x="89596" y="74684"/>
                  </a:lnTo>
                  <a:lnTo>
                    <a:pt x="90923" y="65680"/>
                  </a:lnTo>
                  <a:lnTo>
                    <a:pt x="90923" y="54988"/>
                  </a:lnTo>
                  <a:lnTo>
                    <a:pt x="90923" y="29744"/>
                  </a:lnTo>
                  <a:lnTo>
                    <a:pt x="71065" y="9245"/>
                  </a:lnTo>
                  <a:lnTo>
                    <a:pt x="46666" y="9245"/>
                  </a:lnTo>
                  <a:lnTo>
                    <a:pt x="31353" y="9245"/>
                  </a:lnTo>
                  <a:lnTo>
                    <a:pt x="17364" y="17245"/>
                  </a:lnTo>
                  <a:lnTo>
                    <a:pt x="9206" y="30669"/>
                  </a:lnTo>
                  <a:lnTo>
                    <a:pt x="7878" y="32840"/>
                  </a:lnTo>
                  <a:lnTo>
                    <a:pt x="5024" y="33523"/>
                  </a:lnTo>
                  <a:lnTo>
                    <a:pt x="2854" y="32196"/>
                  </a:lnTo>
                  <a:lnTo>
                    <a:pt x="682" y="30870"/>
                  </a:lnTo>
                  <a:lnTo>
                    <a:pt x="0" y="28015"/>
                  </a:lnTo>
                  <a:lnTo>
                    <a:pt x="1326" y="25846"/>
                  </a:lnTo>
                  <a:lnTo>
                    <a:pt x="11174" y="9647"/>
                  </a:lnTo>
                  <a:lnTo>
                    <a:pt x="28137" y="0"/>
                  </a:lnTo>
                  <a:lnTo>
                    <a:pt x="46709" y="0"/>
                  </a:lnTo>
                  <a:lnTo>
                    <a:pt x="76211" y="0"/>
                  </a:lnTo>
                  <a:lnTo>
                    <a:pt x="100208" y="24680"/>
                  </a:lnTo>
                  <a:lnTo>
                    <a:pt x="100208" y="54988"/>
                  </a:lnTo>
                  <a:lnTo>
                    <a:pt x="100208" y="69257"/>
                  </a:lnTo>
                  <a:lnTo>
                    <a:pt x="96831" y="80512"/>
                  </a:lnTo>
                  <a:lnTo>
                    <a:pt x="78945" y="99203"/>
                  </a:lnTo>
                  <a:lnTo>
                    <a:pt x="56595" y="122557"/>
                  </a:lnTo>
                  <a:lnTo>
                    <a:pt x="55429" y="140805"/>
                  </a:lnTo>
                  <a:lnTo>
                    <a:pt x="55429" y="168621"/>
                  </a:lnTo>
                  <a:lnTo>
                    <a:pt x="55429" y="187714"/>
                  </a:lnTo>
                  <a:lnTo>
                    <a:pt x="55429" y="190247"/>
                  </a:lnTo>
                  <a:lnTo>
                    <a:pt x="53340" y="192298"/>
                  </a:lnTo>
                  <a:lnTo>
                    <a:pt x="50808" y="192298"/>
                  </a:lnTo>
                  <a:lnTo>
                    <a:pt x="37745" y="244149"/>
                  </a:lnTo>
                  <a:lnTo>
                    <a:pt x="37745" y="259826"/>
                  </a:lnTo>
                  <a:lnTo>
                    <a:pt x="37745" y="262479"/>
                  </a:lnTo>
                  <a:lnTo>
                    <a:pt x="39914" y="264649"/>
                  </a:lnTo>
                  <a:lnTo>
                    <a:pt x="42567" y="264649"/>
                  </a:lnTo>
                  <a:lnTo>
                    <a:pt x="58245" y="264649"/>
                  </a:lnTo>
                  <a:lnTo>
                    <a:pt x="60897" y="264649"/>
                  </a:lnTo>
                  <a:lnTo>
                    <a:pt x="63067" y="262479"/>
                  </a:lnTo>
                  <a:lnTo>
                    <a:pt x="63067" y="259826"/>
                  </a:lnTo>
                  <a:lnTo>
                    <a:pt x="63067" y="244149"/>
                  </a:lnTo>
                  <a:lnTo>
                    <a:pt x="63067" y="241497"/>
                  </a:lnTo>
                  <a:lnTo>
                    <a:pt x="60897" y="239326"/>
                  </a:lnTo>
                  <a:lnTo>
                    <a:pt x="58245" y="239326"/>
                  </a:lnTo>
                  <a:lnTo>
                    <a:pt x="42567" y="239326"/>
                  </a:lnTo>
                  <a:lnTo>
                    <a:pt x="39914" y="239326"/>
                  </a:lnTo>
                  <a:lnTo>
                    <a:pt x="37745" y="241497"/>
                  </a:lnTo>
                  <a:lnTo>
                    <a:pt x="37745" y="244149"/>
                  </a:lnTo>
                </a:path>
              </a:pathLst>
            </a:custGeom>
            <a:solidFill>
              <a:schemeClr val="bg2"/>
            </a:solidFill>
            <a:ln w="6350" cap="sq" cmpd="sng" algn="ctr">
              <a:noFill/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246" name="AsteriskWhite" hidden="1">
            <a:extLst>
              <a:ext uri="{FF2B5EF4-FFF2-40B4-BE49-F238E27FC236}">
                <a16:creationId xmlns:a16="http://schemas.microsoft.com/office/drawing/2014/main" id="{CEDF98B2-1813-4BF1-BFC7-812E518E79EF}"/>
              </a:ext>
            </a:extLst>
          </p:cNvPr>
          <p:cNvGrpSpPr>
            <a:grpSpLocks noChangeAspect="1"/>
          </p:cNvGrpSpPr>
          <p:nvPr userDrawn="1">
            <p:custDataLst>
              <p:tags r:id="rId43"/>
            </p:custDataLst>
          </p:nvPr>
        </p:nvGrpSpPr>
        <p:grpSpPr>
          <a:xfrm>
            <a:off x="13958711" y="3750733"/>
            <a:ext cx="528304" cy="528304"/>
            <a:chOff x="1016000" y="1016000"/>
            <a:chExt cx="396228" cy="396228"/>
          </a:xfrm>
        </p:grpSpPr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E515382A-34C3-42F3-A233-713885428A05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D441E102-9290-485C-84CC-08F974EBD5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94177" y="1094179"/>
              <a:ext cx="240772" cy="240773"/>
            </a:xfrm>
            <a:custGeom>
              <a:avLst/>
              <a:gdLst/>
              <a:ahLst/>
              <a:cxnLst/>
              <a:rect l="0" t="0" r="0" b="0"/>
              <a:pathLst>
                <a:path w="240773" h="240774">
                  <a:moveTo>
                    <a:pt x="236149" y="115764"/>
                  </a:moveTo>
                  <a:lnTo>
                    <a:pt x="131560" y="115764"/>
                  </a:lnTo>
                  <a:lnTo>
                    <a:pt x="210505" y="36820"/>
                  </a:lnTo>
                  <a:lnTo>
                    <a:pt x="212313" y="35010"/>
                  </a:lnTo>
                  <a:lnTo>
                    <a:pt x="212313" y="32076"/>
                  </a:lnTo>
                  <a:lnTo>
                    <a:pt x="210505" y="30268"/>
                  </a:lnTo>
                  <a:lnTo>
                    <a:pt x="208695" y="28458"/>
                  </a:lnTo>
                  <a:lnTo>
                    <a:pt x="205761" y="28458"/>
                  </a:lnTo>
                  <a:lnTo>
                    <a:pt x="203951" y="30268"/>
                  </a:lnTo>
                  <a:lnTo>
                    <a:pt x="125008" y="109212"/>
                  </a:lnTo>
                  <a:lnTo>
                    <a:pt x="125008" y="4623"/>
                  </a:lnTo>
                  <a:lnTo>
                    <a:pt x="125008" y="2049"/>
                  </a:lnTo>
                  <a:lnTo>
                    <a:pt x="122959" y="0"/>
                  </a:lnTo>
                  <a:lnTo>
                    <a:pt x="120384" y="0"/>
                  </a:lnTo>
                  <a:lnTo>
                    <a:pt x="117812" y="0"/>
                  </a:lnTo>
                  <a:lnTo>
                    <a:pt x="115763" y="2049"/>
                  </a:lnTo>
                  <a:lnTo>
                    <a:pt x="115763" y="4623"/>
                  </a:lnTo>
                  <a:lnTo>
                    <a:pt x="115763" y="109212"/>
                  </a:lnTo>
                  <a:lnTo>
                    <a:pt x="36818" y="30268"/>
                  </a:lnTo>
                  <a:lnTo>
                    <a:pt x="35009" y="28458"/>
                  </a:lnTo>
                  <a:lnTo>
                    <a:pt x="32075" y="28458"/>
                  </a:lnTo>
                  <a:lnTo>
                    <a:pt x="30266" y="30268"/>
                  </a:lnTo>
                  <a:lnTo>
                    <a:pt x="28457" y="32076"/>
                  </a:lnTo>
                  <a:lnTo>
                    <a:pt x="28457" y="35010"/>
                  </a:lnTo>
                  <a:lnTo>
                    <a:pt x="30266" y="36820"/>
                  </a:lnTo>
                  <a:lnTo>
                    <a:pt x="109211" y="115764"/>
                  </a:lnTo>
                  <a:lnTo>
                    <a:pt x="4621" y="115764"/>
                  </a:lnTo>
                  <a:lnTo>
                    <a:pt x="2049" y="115764"/>
                  </a:lnTo>
                  <a:lnTo>
                    <a:pt x="0" y="117814"/>
                  </a:lnTo>
                  <a:lnTo>
                    <a:pt x="0" y="120385"/>
                  </a:lnTo>
                  <a:lnTo>
                    <a:pt x="0" y="122959"/>
                  </a:lnTo>
                  <a:lnTo>
                    <a:pt x="2049" y="125010"/>
                  </a:lnTo>
                  <a:lnTo>
                    <a:pt x="4621" y="125010"/>
                  </a:lnTo>
                  <a:lnTo>
                    <a:pt x="109211" y="125010"/>
                  </a:lnTo>
                  <a:lnTo>
                    <a:pt x="30266" y="203953"/>
                  </a:lnTo>
                  <a:lnTo>
                    <a:pt x="28457" y="205763"/>
                  </a:lnTo>
                  <a:lnTo>
                    <a:pt x="28457" y="208696"/>
                  </a:lnTo>
                  <a:lnTo>
                    <a:pt x="30266" y="210505"/>
                  </a:lnTo>
                  <a:lnTo>
                    <a:pt x="31150" y="211390"/>
                  </a:lnTo>
                  <a:lnTo>
                    <a:pt x="32357" y="211872"/>
                  </a:lnTo>
                  <a:lnTo>
                    <a:pt x="33521" y="211872"/>
                  </a:lnTo>
                  <a:lnTo>
                    <a:pt x="34689" y="211872"/>
                  </a:lnTo>
                  <a:lnTo>
                    <a:pt x="35893" y="211430"/>
                  </a:lnTo>
                  <a:lnTo>
                    <a:pt x="36778" y="210505"/>
                  </a:lnTo>
                  <a:lnTo>
                    <a:pt x="115722" y="131561"/>
                  </a:lnTo>
                  <a:lnTo>
                    <a:pt x="115722" y="236150"/>
                  </a:lnTo>
                  <a:lnTo>
                    <a:pt x="115722" y="238723"/>
                  </a:lnTo>
                  <a:lnTo>
                    <a:pt x="117772" y="240773"/>
                  </a:lnTo>
                  <a:lnTo>
                    <a:pt x="120345" y="240773"/>
                  </a:lnTo>
                  <a:lnTo>
                    <a:pt x="122918" y="240773"/>
                  </a:lnTo>
                  <a:lnTo>
                    <a:pt x="124967" y="238723"/>
                  </a:lnTo>
                  <a:lnTo>
                    <a:pt x="124967" y="236150"/>
                  </a:lnTo>
                  <a:lnTo>
                    <a:pt x="124967" y="131561"/>
                  </a:lnTo>
                  <a:lnTo>
                    <a:pt x="203912" y="210505"/>
                  </a:lnTo>
                  <a:lnTo>
                    <a:pt x="204796" y="211390"/>
                  </a:lnTo>
                  <a:lnTo>
                    <a:pt x="206002" y="211872"/>
                  </a:lnTo>
                  <a:lnTo>
                    <a:pt x="207168" y="211872"/>
                  </a:lnTo>
                  <a:lnTo>
                    <a:pt x="208334" y="211872"/>
                  </a:lnTo>
                  <a:lnTo>
                    <a:pt x="209539" y="211430"/>
                  </a:lnTo>
                  <a:lnTo>
                    <a:pt x="210424" y="210505"/>
                  </a:lnTo>
                  <a:lnTo>
                    <a:pt x="212233" y="208696"/>
                  </a:lnTo>
                  <a:lnTo>
                    <a:pt x="212233" y="205763"/>
                  </a:lnTo>
                  <a:lnTo>
                    <a:pt x="210424" y="203953"/>
                  </a:lnTo>
                  <a:lnTo>
                    <a:pt x="131479" y="125010"/>
                  </a:lnTo>
                  <a:lnTo>
                    <a:pt x="236149" y="125010"/>
                  </a:lnTo>
                  <a:lnTo>
                    <a:pt x="238721" y="125010"/>
                  </a:lnTo>
                  <a:lnTo>
                    <a:pt x="240772" y="122959"/>
                  </a:lnTo>
                  <a:lnTo>
                    <a:pt x="240772" y="120385"/>
                  </a:lnTo>
                  <a:lnTo>
                    <a:pt x="240772" y="117814"/>
                  </a:lnTo>
                  <a:lnTo>
                    <a:pt x="238721" y="115764"/>
                  </a:lnTo>
                  <a:close/>
                </a:path>
              </a:pathLst>
            </a:custGeom>
            <a:solidFill>
              <a:schemeClr val="bg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49" name="ExclamationMarkWhite" hidden="1">
            <a:extLst>
              <a:ext uri="{FF2B5EF4-FFF2-40B4-BE49-F238E27FC236}">
                <a16:creationId xmlns:a16="http://schemas.microsoft.com/office/drawing/2014/main" id="{8DB170B5-3087-44C3-936D-637091A9C3DA}"/>
              </a:ext>
            </a:extLst>
          </p:cNvPr>
          <p:cNvGrpSpPr>
            <a:grpSpLocks noChangeAspect="1"/>
          </p:cNvGrpSpPr>
          <p:nvPr userDrawn="1">
            <p:custDataLst>
              <p:tags r:id="rId44"/>
            </p:custDataLst>
          </p:nvPr>
        </p:nvGrpSpPr>
        <p:grpSpPr>
          <a:xfrm>
            <a:off x="13958711" y="5140960"/>
            <a:ext cx="528304" cy="528304"/>
            <a:chOff x="1016000" y="1016000"/>
            <a:chExt cx="396228" cy="396228"/>
          </a:xfrm>
        </p:grpSpPr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9100AB58-CDAA-456F-B984-EC20B314BAD5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46DC2DA3-FCB3-4A87-BF92-5E548A5E25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99054" y="1079508"/>
              <a:ext cx="25324" cy="265293"/>
            </a:xfrm>
            <a:custGeom>
              <a:avLst/>
              <a:gdLst/>
              <a:ahLst/>
              <a:cxnLst/>
              <a:rect l="0" t="0" r="0" b="0"/>
              <a:pathLst>
                <a:path w="25324" h="265294">
                  <a:moveTo>
                    <a:pt x="13063" y="192538"/>
                  </a:moveTo>
                  <a:lnTo>
                    <a:pt x="10491" y="192538"/>
                  </a:lnTo>
                  <a:lnTo>
                    <a:pt x="8440" y="190488"/>
                  </a:lnTo>
                  <a:lnTo>
                    <a:pt x="8440" y="187916"/>
                  </a:lnTo>
                  <a:lnTo>
                    <a:pt x="8440" y="4622"/>
                  </a:lnTo>
                  <a:lnTo>
                    <a:pt x="8440" y="2051"/>
                  </a:lnTo>
                  <a:lnTo>
                    <a:pt x="10491" y="0"/>
                  </a:lnTo>
                  <a:lnTo>
                    <a:pt x="13063" y="0"/>
                  </a:lnTo>
                  <a:lnTo>
                    <a:pt x="15637" y="0"/>
                  </a:lnTo>
                  <a:lnTo>
                    <a:pt x="17685" y="2051"/>
                  </a:lnTo>
                  <a:lnTo>
                    <a:pt x="17685" y="4622"/>
                  </a:lnTo>
                  <a:lnTo>
                    <a:pt x="17685" y="187916"/>
                  </a:lnTo>
                  <a:lnTo>
                    <a:pt x="17685" y="190488"/>
                  </a:lnTo>
                  <a:lnTo>
                    <a:pt x="15637" y="192538"/>
                  </a:lnTo>
                  <a:lnTo>
                    <a:pt x="13063" y="192538"/>
                  </a:lnTo>
                  <a:lnTo>
                    <a:pt x="0" y="244793"/>
                  </a:lnTo>
                  <a:lnTo>
                    <a:pt x="0" y="260469"/>
                  </a:lnTo>
                  <a:lnTo>
                    <a:pt x="0" y="263122"/>
                  </a:lnTo>
                  <a:lnTo>
                    <a:pt x="2171" y="265293"/>
                  </a:lnTo>
                  <a:lnTo>
                    <a:pt x="4822" y="265293"/>
                  </a:lnTo>
                  <a:lnTo>
                    <a:pt x="20499" y="265293"/>
                  </a:lnTo>
                  <a:lnTo>
                    <a:pt x="23152" y="265293"/>
                  </a:lnTo>
                  <a:lnTo>
                    <a:pt x="25323" y="263122"/>
                  </a:lnTo>
                  <a:lnTo>
                    <a:pt x="25323" y="260469"/>
                  </a:lnTo>
                  <a:lnTo>
                    <a:pt x="25323" y="244793"/>
                  </a:lnTo>
                  <a:lnTo>
                    <a:pt x="25323" y="242140"/>
                  </a:lnTo>
                  <a:lnTo>
                    <a:pt x="23152" y="239969"/>
                  </a:lnTo>
                  <a:lnTo>
                    <a:pt x="20499" y="239969"/>
                  </a:lnTo>
                  <a:lnTo>
                    <a:pt x="4822" y="239969"/>
                  </a:lnTo>
                  <a:lnTo>
                    <a:pt x="2171" y="239969"/>
                  </a:lnTo>
                  <a:lnTo>
                    <a:pt x="0" y="242140"/>
                  </a:lnTo>
                  <a:lnTo>
                    <a:pt x="0" y="244793"/>
                  </a:lnTo>
                </a:path>
              </a:pathLst>
            </a:custGeom>
            <a:solidFill>
              <a:schemeClr val="bg2"/>
            </a:solidFill>
            <a:ln w="6350" cap="sq" cmpd="sng" algn="ctr">
              <a:noFill/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252" name="QuotationMarksWhite" hidden="1">
            <a:extLst>
              <a:ext uri="{FF2B5EF4-FFF2-40B4-BE49-F238E27FC236}">
                <a16:creationId xmlns:a16="http://schemas.microsoft.com/office/drawing/2014/main" id="{6F69627D-0C30-4211-B442-2F4304676F0B}"/>
              </a:ext>
            </a:extLst>
          </p:cNvPr>
          <p:cNvGrpSpPr>
            <a:grpSpLocks noChangeAspect="1"/>
          </p:cNvGrpSpPr>
          <p:nvPr userDrawn="1">
            <p:custDataLst>
              <p:tags r:id="rId45"/>
            </p:custDataLst>
          </p:nvPr>
        </p:nvGrpSpPr>
        <p:grpSpPr>
          <a:xfrm>
            <a:off x="13958711" y="6664960"/>
            <a:ext cx="528304" cy="528304"/>
            <a:chOff x="1016000" y="1016000"/>
            <a:chExt cx="396228" cy="396228"/>
          </a:xfrm>
        </p:grpSpPr>
        <p:sp>
          <p:nvSpPr>
            <p:cNvPr id="253" name="Oval 252">
              <a:extLst>
                <a:ext uri="{FF2B5EF4-FFF2-40B4-BE49-F238E27FC236}">
                  <a16:creationId xmlns:a16="http://schemas.microsoft.com/office/drawing/2014/main" id="{676D5697-77BB-47A6-B7FE-2ECA15B1632A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E03E8B69-21B2-413B-A161-F674FEFFFBB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108293" y="1151401"/>
              <a:ext cx="223425" cy="126396"/>
              <a:chOff x="1018198" y="1915826"/>
              <a:chExt cx="5902920" cy="3339389"/>
            </a:xfrm>
          </p:grpSpPr>
          <p:grpSp>
            <p:nvGrpSpPr>
              <p:cNvPr id="255" name="Group 254">
                <a:extLst>
                  <a:ext uri="{FF2B5EF4-FFF2-40B4-BE49-F238E27FC236}">
                    <a16:creationId xmlns:a16="http://schemas.microsoft.com/office/drawing/2014/main" id="{1771D4C1-62AF-4A42-84B5-7EC4B9ECF130}"/>
                  </a:ext>
                </a:extLst>
              </p:cNvPr>
              <p:cNvGrpSpPr/>
              <p:nvPr/>
            </p:nvGrpSpPr>
            <p:grpSpPr>
              <a:xfrm>
                <a:off x="4446462" y="3060258"/>
                <a:ext cx="2474656" cy="2194957"/>
                <a:chOff x="8918818" y="4018207"/>
                <a:chExt cx="2474656" cy="2194957"/>
              </a:xfrm>
            </p:grpSpPr>
            <p:sp>
              <p:nvSpPr>
                <p:cNvPr id="259" name="Freeform: Shape 258">
                  <a:extLst>
                    <a:ext uri="{FF2B5EF4-FFF2-40B4-BE49-F238E27FC236}">
                      <a16:creationId xmlns:a16="http://schemas.microsoft.com/office/drawing/2014/main" id="{A7537D8D-2824-4AC8-907B-88AC9372E53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918818" y="4018207"/>
                  <a:ext cx="1110328" cy="2194957"/>
                </a:xfrm>
                <a:custGeom>
                  <a:avLst/>
                  <a:gdLst>
                    <a:gd name="connsiteX0" fmla="*/ 214156 w 1087143"/>
                    <a:gd name="connsiteY0" fmla="*/ 0 h 2180598"/>
                    <a:gd name="connsiteX1" fmla="*/ 927552 w 1087143"/>
                    <a:gd name="connsiteY1" fmla="*/ 0 h 2180598"/>
                    <a:gd name="connsiteX2" fmla="*/ 1015319 w 1087143"/>
                    <a:gd name="connsiteY2" fmla="*/ 0 h 2180598"/>
                    <a:gd name="connsiteX3" fmla="*/ 1087143 w 1087143"/>
                    <a:gd name="connsiteY3" fmla="*/ 71430 h 2180598"/>
                    <a:gd name="connsiteX4" fmla="*/ 1087143 w 1087143"/>
                    <a:gd name="connsiteY4" fmla="*/ 159275 h 2180598"/>
                    <a:gd name="connsiteX5" fmla="*/ 1087143 w 1087143"/>
                    <a:gd name="connsiteY5" fmla="*/ 675274 h 2180598"/>
                    <a:gd name="connsiteX6" fmla="*/ 1087143 w 1087143"/>
                    <a:gd name="connsiteY6" fmla="*/ 697005 h 2180598"/>
                    <a:gd name="connsiteX7" fmla="*/ 1087143 w 1087143"/>
                    <a:gd name="connsiteY7" fmla="*/ 955202 h 2180598"/>
                    <a:gd name="connsiteX8" fmla="*/ 1087143 w 1087143"/>
                    <a:gd name="connsiteY8" fmla="*/ 1510244 h 2180598"/>
                    <a:gd name="connsiteX9" fmla="*/ 774143 w 1087143"/>
                    <a:gd name="connsiteY9" fmla="*/ 1955235 h 2180598"/>
                    <a:gd name="connsiteX10" fmla="*/ 219469 w 1087143"/>
                    <a:gd name="connsiteY10" fmla="*/ 2169522 h 2180598"/>
                    <a:gd name="connsiteX11" fmla="*/ 203080 w 1087143"/>
                    <a:gd name="connsiteY11" fmla="*/ 2180598 h 2180598"/>
                    <a:gd name="connsiteX12" fmla="*/ 186663 w 1087143"/>
                    <a:gd name="connsiteY12" fmla="*/ 2180598 h 2180598"/>
                    <a:gd name="connsiteX13" fmla="*/ 164483 w 1087143"/>
                    <a:gd name="connsiteY13" fmla="*/ 2180598 h 2180598"/>
                    <a:gd name="connsiteX14" fmla="*/ 104210 w 1087143"/>
                    <a:gd name="connsiteY14" fmla="*/ 2180598 h 2180598"/>
                    <a:gd name="connsiteX15" fmla="*/ 49224 w 1087143"/>
                    <a:gd name="connsiteY15" fmla="*/ 2147343 h 2180598"/>
                    <a:gd name="connsiteX16" fmla="*/ 27494 w 1087143"/>
                    <a:gd name="connsiteY16" fmla="*/ 2086989 h 2180598"/>
                    <a:gd name="connsiteX17" fmla="*/ 0 w 1087143"/>
                    <a:gd name="connsiteY17" fmla="*/ 2010247 h 2180598"/>
                    <a:gd name="connsiteX18" fmla="*/ 32808 w 1087143"/>
                    <a:gd name="connsiteY18" fmla="*/ 1922401 h 2180598"/>
                    <a:gd name="connsiteX19" fmla="*/ 109525 w 1087143"/>
                    <a:gd name="connsiteY19" fmla="*/ 1894882 h 2180598"/>
                    <a:gd name="connsiteX20" fmla="*/ 356909 w 1087143"/>
                    <a:gd name="connsiteY20" fmla="*/ 1801274 h 2180598"/>
                    <a:gd name="connsiteX21" fmla="*/ 751967 w 1087143"/>
                    <a:gd name="connsiteY21" fmla="*/ 1559915 h 2180598"/>
                    <a:gd name="connsiteX22" fmla="*/ 785220 w 1087143"/>
                    <a:gd name="connsiteY22" fmla="*/ 1026631 h 2180598"/>
                    <a:gd name="connsiteX23" fmla="*/ 214156 w 1087143"/>
                    <a:gd name="connsiteY23" fmla="*/ 1026631 h 2180598"/>
                    <a:gd name="connsiteX24" fmla="*/ 126363 w 1087143"/>
                    <a:gd name="connsiteY24" fmla="*/ 1026631 h 2180598"/>
                    <a:gd name="connsiteX25" fmla="*/ 60301 w 1087143"/>
                    <a:gd name="connsiteY25" fmla="*/ 960990 h 2180598"/>
                    <a:gd name="connsiteX26" fmla="*/ 60301 w 1087143"/>
                    <a:gd name="connsiteY26" fmla="*/ 873144 h 2180598"/>
                    <a:gd name="connsiteX27" fmla="*/ 60301 w 1087143"/>
                    <a:gd name="connsiteY27" fmla="*/ 159275 h 2180598"/>
                    <a:gd name="connsiteX28" fmla="*/ 60301 w 1087143"/>
                    <a:gd name="connsiteY28" fmla="*/ 71430 h 2180598"/>
                    <a:gd name="connsiteX29" fmla="*/ 126363 w 1087143"/>
                    <a:gd name="connsiteY29" fmla="*/ 0 h 2180598"/>
                    <a:gd name="connsiteX30" fmla="*/ 214156 w 1087143"/>
                    <a:gd name="connsiteY30" fmla="*/ 0 h 2180598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110328"/>
                    <a:gd name="connsiteY0" fmla="*/ 5291 h 2185889"/>
                    <a:gd name="connsiteX1" fmla="*/ 927552 w 1110328"/>
                    <a:gd name="connsiteY1" fmla="*/ 5291 h 2185889"/>
                    <a:gd name="connsiteX2" fmla="*/ 1015319 w 1110328"/>
                    <a:gd name="connsiteY2" fmla="*/ 5291 h 2185889"/>
                    <a:gd name="connsiteX3" fmla="*/ 1087143 w 1110328"/>
                    <a:gd name="connsiteY3" fmla="*/ 76721 h 2185889"/>
                    <a:gd name="connsiteX4" fmla="*/ 1087143 w 1110328"/>
                    <a:gd name="connsiteY4" fmla="*/ 164566 h 2185889"/>
                    <a:gd name="connsiteX5" fmla="*/ 1087143 w 1110328"/>
                    <a:gd name="connsiteY5" fmla="*/ 680565 h 2185889"/>
                    <a:gd name="connsiteX6" fmla="*/ 1087143 w 1110328"/>
                    <a:gd name="connsiteY6" fmla="*/ 702296 h 2185889"/>
                    <a:gd name="connsiteX7" fmla="*/ 1087143 w 1110328"/>
                    <a:gd name="connsiteY7" fmla="*/ 960493 h 2185889"/>
                    <a:gd name="connsiteX8" fmla="*/ 1087143 w 1110328"/>
                    <a:gd name="connsiteY8" fmla="*/ 1515535 h 2185889"/>
                    <a:gd name="connsiteX9" fmla="*/ 774143 w 1110328"/>
                    <a:gd name="connsiteY9" fmla="*/ 1960526 h 2185889"/>
                    <a:gd name="connsiteX10" fmla="*/ 219469 w 1110328"/>
                    <a:gd name="connsiteY10" fmla="*/ 2174813 h 2185889"/>
                    <a:gd name="connsiteX11" fmla="*/ 203080 w 1110328"/>
                    <a:gd name="connsiteY11" fmla="*/ 2185889 h 2185889"/>
                    <a:gd name="connsiteX12" fmla="*/ 186663 w 1110328"/>
                    <a:gd name="connsiteY12" fmla="*/ 2185889 h 2185889"/>
                    <a:gd name="connsiteX13" fmla="*/ 164483 w 1110328"/>
                    <a:gd name="connsiteY13" fmla="*/ 2185889 h 2185889"/>
                    <a:gd name="connsiteX14" fmla="*/ 104210 w 1110328"/>
                    <a:gd name="connsiteY14" fmla="*/ 2185889 h 2185889"/>
                    <a:gd name="connsiteX15" fmla="*/ 49224 w 1110328"/>
                    <a:gd name="connsiteY15" fmla="*/ 2152634 h 2185889"/>
                    <a:gd name="connsiteX16" fmla="*/ 27494 w 1110328"/>
                    <a:gd name="connsiteY16" fmla="*/ 2092280 h 2185889"/>
                    <a:gd name="connsiteX17" fmla="*/ 0 w 1110328"/>
                    <a:gd name="connsiteY17" fmla="*/ 2015538 h 2185889"/>
                    <a:gd name="connsiteX18" fmla="*/ 32808 w 1110328"/>
                    <a:gd name="connsiteY18" fmla="*/ 1927692 h 2185889"/>
                    <a:gd name="connsiteX19" fmla="*/ 109525 w 1110328"/>
                    <a:gd name="connsiteY19" fmla="*/ 1900173 h 2185889"/>
                    <a:gd name="connsiteX20" fmla="*/ 356909 w 1110328"/>
                    <a:gd name="connsiteY20" fmla="*/ 1806565 h 2185889"/>
                    <a:gd name="connsiteX21" fmla="*/ 751967 w 1110328"/>
                    <a:gd name="connsiteY21" fmla="*/ 1565206 h 2185889"/>
                    <a:gd name="connsiteX22" fmla="*/ 785220 w 1110328"/>
                    <a:gd name="connsiteY22" fmla="*/ 1031922 h 2185889"/>
                    <a:gd name="connsiteX23" fmla="*/ 214156 w 1110328"/>
                    <a:gd name="connsiteY23" fmla="*/ 1031922 h 2185889"/>
                    <a:gd name="connsiteX24" fmla="*/ 126363 w 1110328"/>
                    <a:gd name="connsiteY24" fmla="*/ 1031922 h 2185889"/>
                    <a:gd name="connsiteX25" fmla="*/ 60301 w 1110328"/>
                    <a:gd name="connsiteY25" fmla="*/ 966281 h 2185889"/>
                    <a:gd name="connsiteX26" fmla="*/ 60301 w 1110328"/>
                    <a:gd name="connsiteY26" fmla="*/ 878435 h 2185889"/>
                    <a:gd name="connsiteX27" fmla="*/ 60301 w 1110328"/>
                    <a:gd name="connsiteY27" fmla="*/ 164566 h 2185889"/>
                    <a:gd name="connsiteX28" fmla="*/ 60301 w 1110328"/>
                    <a:gd name="connsiteY28" fmla="*/ 76721 h 2185889"/>
                    <a:gd name="connsiteX29" fmla="*/ 126363 w 1110328"/>
                    <a:gd name="connsiteY29" fmla="*/ 5291 h 2185889"/>
                    <a:gd name="connsiteX30" fmla="*/ 214156 w 1110328"/>
                    <a:gd name="connsiteY30" fmla="*/ 5291 h 2185889"/>
                    <a:gd name="connsiteX0" fmla="*/ 214156 w 1110328"/>
                    <a:gd name="connsiteY0" fmla="*/ 5291 h 2185889"/>
                    <a:gd name="connsiteX1" fmla="*/ 927552 w 1110328"/>
                    <a:gd name="connsiteY1" fmla="*/ 5291 h 2185889"/>
                    <a:gd name="connsiteX2" fmla="*/ 1015319 w 1110328"/>
                    <a:gd name="connsiteY2" fmla="*/ 5291 h 2185889"/>
                    <a:gd name="connsiteX3" fmla="*/ 1087143 w 1110328"/>
                    <a:gd name="connsiteY3" fmla="*/ 76721 h 2185889"/>
                    <a:gd name="connsiteX4" fmla="*/ 1087143 w 1110328"/>
                    <a:gd name="connsiteY4" fmla="*/ 164566 h 2185889"/>
                    <a:gd name="connsiteX5" fmla="*/ 1087143 w 1110328"/>
                    <a:gd name="connsiteY5" fmla="*/ 680565 h 2185889"/>
                    <a:gd name="connsiteX6" fmla="*/ 1087143 w 1110328"/>
                    <a:gd name="connsiteY6" fmla="*/ 702296 h 2185889"/>
                    <a:gd name="connsiteX7" fmla="*/ 1087143 w 1110328"/>
                    <a:gd name="connsiteY7" fmla="*/ 960493 h 2185889"/>
                    <a:gd name="connsiteX8" fmla="*/ 1087143 w 1110328"/>
                    <a:gd name="connsiteY8" fmla="*/ 1515535 h 2185889"/>
                    <a:gd name="connsiteX9" fmla="*/ 774143 w 1110328"/>
                    <a:gd name="connsiteY9" fmla="*/ 1960526 h 2185889"/>
                    <a:gd name="connsiteX10" fmla="*/ 219469 w 1110328"/>
                    <a:gd name="connsiteY10" fmla="*/ 2174813 h 2185889"/>
                    <a:gd name="connsiteX11" fmla="*/ 203080 w 1110328"/>
                    <a:gd name="connsiteY11" fmla="*/ 2185889 h 2185889"/>
                    <a:gd name="connsiteX12" fmla="*/ 186663 w 1110328"/>
                    <a:gd name="connsiteY12" fmla="*/ 2185889 h 2185889"/>
                    <a:gd name="connsiteX13" fmla="*/ 164483 w 1110328"/>
                    <a:gd name="connsiteY13" fmla="*/ 2185889 h 2185889"/>
                    <a:gd name="connsiteX14" fmla="*/ 104210 w 1110328"/>
                    <a:gd name="connsiteY14" fmla="*/ 2185889 h 2185889"/>
                    <a:gd name="connsiteX15" fmla="*/ 49224 w 1110328"/>
                    <a:gd name="connsiteY15" fmla="*/ 2152634 h 2185889"/>
                    <a:gd name="connsiteX16" fmla="*/ 27494 w 1110328"/>
                    <a:gd name="connsiteY16" fmla="*/ 2092280 h 2185889"/>
                    <a:gd name="connsiteX17" fmla="*/ 0 w 1110328"/>
                    <a:gd name="connsiteY17" fmla="*/ 2015538 h 2185889"/>
                    <a:gd name="connsiteX18" fmla="*/ 32808 w 1110328"/>
                    <a:gd name="connsiteY18" fmla="*/ 1927692 h 2185889"/>
                    <a:gd name="connsiteX19" fmla="*/ 109525 w 1110328"/>
                    <a:gd name="connsiteY19" fmla="*/ 1900173 h 2185889"/>
                    <a:gd name="connsiteX20" fmla="*/ 356909 w 1110328"/>
                    <a:gd name="connsiteY20" fmla="*/ 1806565 h 2185889"/>
                    <a:gd name="connsiteX21" fmla="*/ 751967 w 1110328"/>
                    <a:gd name="connsiteY21" fmla="*/ 1565206 h 2185889"/>
                    <a:gd name="connsiteX22" fmla="*/ 785220 w 1110328"/>
                    <a:gd name="connsiteY22" fmla="*/ 1031922 h 2185889"/>
                    <a:gd name="connsiteX23" fmla="*/ 214156 w 1110328"/>
                    <a:gd name="connsiteY23" fmla="*/ 1031922 h 2185889"/>
                    <a:gd name="connsiteX24" fmla="*/ 126363 w 1110328"/>
                    <a:gd name="connsiteY24" fmla="*/ 1031922 h 2185889"/>
                    <a:gd name="connsiteX25" fmla="*/ 60301 w 1110328"/>
                    <a:gd name="connsiteY25" fmla="*/ 966281 h 2185889"/>
                    <a:gd name="connsiteX26" fmla="*/ 60301 w 1110328"/>
                    <a:gd name="connsiteY26" fmla="*/ 878435 h 2185889"/>
                    <a:gd name="connsiteX27" fmla="*/ 60301 w 1110328"/>
                    <a:gd name="connsiteY27" fmla="*/ 164566 h 2185889"/>
                    <a:gd name="connsiteX28" fmla="*/ 60301 w 1110328"/>
                    <a:gd name="connsiteY28" fmla="*/ 76721 h 2185889"/>
                    <a:gd name="connsiteX29" fmla="*/ 126363 w 1110328"/>
                    <a:gd name="connsiteY29" fmla="*/ 5291 h 2185889"/>
                    <a:gd name="connsiteX30" fmla="*/ 214156 w 1110328"/>
                    <a:gd name="connsiteY30" fmla="*/ 5291 h 2185889"/>
                    <a:gd name="connsiteX0" fmla="*/ 214156 w 1110328"/>
                    <a:gd name="connsiteY0" fmla="*/ 5291 h 2194111"/>
                    <a:gd name="connsiteX1" fmla="*/ 927552 w 1110328"/>
                    <a:gd name="connsiteY1" fmla="*/ 5291 h 2194111"/>
                    <a:gd name="connsiteX2" fmla="*/ 1015319 w 1110328"/>
                    <a:gd name="connsiteY2" fmla="*/ 5291 h 2194111"/>
                    <a:gd name="connsiteX3" fmla="*/ 1087143 w 1110328"/>
                    <a:gd name="connsiteY3" fmla="*/ 76721 h 2194111"/>
                    <a:gd name="connsiteX4" fmla="*/ 1087143 w 1110328"/>
                    <a:gd name="connsiteY4" fmla="*/ 164566 h 2194111"/>
                    <a:gd name="connsiteX5" fmla="*/ 1087143 w 1110328"/>
                    <a:gd name="connsiteY5" fmla="*/ 680565 h 2194111"/>
                    <a:gd name="connsiteX6" fmla="*/ 1087143 w 1110328"/>
                    <a:gd name="connsiteY6" fmla="*/ 702296 h 2194111"/>
                    <a:gd name="connsiteX7" fmla="*/ 1087143 w 1110328"/>
                    <a:gd name="connsiteY7" fmla="*/ 960493 h 2194111"/>
                    <a:gd name="connsiteX8" fmla="*/ 1087143 w 1110328"/>
                    <a:gd name="connsiteY8" fmla="*/ 1515535 h 2194111"/>
                    <a:gd name="connsiteX9" fmla="*/ 774143 w 1110328"/>
                    <a:gd name="connsiteY9" fmla="*/ 1960526 h 2194111"/>
                    <a:gd name="connsiteX10" fmla="*/ 219469 w 1110328"/>
                    <a:gd name="connsiteY10" fmla="*/ 2174813 h 2194111"/>
                    <a:gd name="connsiteX11" fmla="*/ 203080 w 1110328"/>
                    <a:gd name="connsiteY11" fmla="*/ 2185889 h 2194111"/>
                    <a:gd name="connsiteX12" fmla="*/ 186663 w 1110328"/>
                    <a:gd name="connsiteY12" fmla="*/ 2185889 h 2194111"/>
                    <a:gd name="connsiteX13" fmla="*/ 164483 w 1110328"/>
                    <a:gd name="connsiteY13" fmla="*/ 2185889 h 2194111"/>
                    <a:gd name="connsiteX14" fmla="*/ 104210 w 1110328"/>
                    <a:gd name="connsiteY14" fmla="*/ 2185889 h 2194111"/>
                    <a:gd name="connsiteX15" fmla="*/ 49224 w 1110328"/>
                    <a:gd name="connsiteY15" fmla="*/ 2152634 h 2194111"/>
                    <a:gd name="connsiteX16" fmla="*/ 27494 w 1110328"/>
                    <a:gd name="connsiteY16" fmla="*/ 2092280 h 2194111"/>
                    <a:gd name="connsiteX17" fmla="*/ 0 w 1110328"/>
                    <a:gd name="connsiteY17" fmla="*/ 2015538 h 2194111"/>
                    <a:gd name="connsiteX18" fmla="*/ 32808 w 1110328"/>
                    <a:gd name="connsiteY18" fmla="*/ 1927692 h 2194111"/>
                    <a:gd name="connsiteX19" fmla="*/ 109525 w 1110328"/>
                    <a:gd name="connsiteY19" fmla="*/ 1900173 h 2194111"/>
                    <a:gd name="connsiteX20" fmla="*/ 356909 w 1110328"/>
                    <a:gd name="connsiteY20" fmla="*/ 1806565 h 2194111"/>
                    <a:gd name="connsiteX21" fmla="*/ 751967 w 1110328"/>
                    <a:gd name="connsiteY21" fmla="*/ 1565206 h 2194111"/>
                    <a:gd name="connsiteX22" fmla="*/ 785220 w 1110328"/>
                    <a:gd name="connsiteY22" fmla="*/ 1031922 h 2194111"/>
                    <a:gd name="connsiteX23" fmla="*/ 214156 w 1110328"/>
                    <a:gd name="connsiteY23" fmla="*/ 1031922 h 2194111"/>
                    <a:gd name="connsiteX24" fmla="*/ 126363 w 1110328"/>
                    <a:gd name="connsiteY24" fmla="*/ 1031922 h 2194111"/>
                    <a:gd name="connsiteX25" fmla="*/ 60301 w 1110328"/>
                    <a:gd name="connsiteY25" fmla="*/ 966281 h 2194111"/>
                    <a:gd name="connsiteX26" fmla="*/ 60301 w 1110328"/>
                    <a:gd name="connsiteY26" fmla="*/ 878435 h 2194111"/>
                    <a:gd name="connsiteX27" fmla="*/ 60301 w 1110328"/>
                    <a:gd name="connsiteY27" fmla="*/ 164566 h 2194111"/>
                    <a:gd name="connsiteX28" fmla="*/ 60301 w 1110328"/>
                    <a:gd name="connsiteY28" fmla="*/ 76721 h 2194111"/>
                    <a:gd name="connsiteX29" fmla="*/ 126363 w 1110328"/>
                    <a:gd name="connsiteY29" fmla="*/ 5291 h 2194111"/>
                    <a:gd name="connsiteX30" fmla="*/ 214156 w 1110328"/>
                    <a:gd name="connsiteY30" fmla="*/ 5291 h 2194111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6221 w 1112393"/>
                    <a:gd name="connsiteY0" fmla="*/ 5291 h 2194956"/>
                    <a:gd name="connsiteX1" fmla="*/ 929617 w 1112393"/>
                    <a:gd name="connsiteY1" fmla="*/ 5291 h 2194956"/>
                    <a:gd name="connsiteX2" fmla="*/ 1017384 w 1112393"/>
                    <a:gd name="connsiteY2" fmla="*/ 5291 h 2194956"/>
                    <a:gd name="connsiteX3" fmla="*/ 1089208 w 1112393"/>
                    <a:gd name="connsiteY3" fmla="*/ 76721 h 2194956"/>
                    <a:gd name="connsiteX4" fmla="*/ 1089208 w 1112393"/>
                    <a:gd name="connsiteY4" fmla="*/ 164566 h 2194956"/>
                    <a:gd name="connsiteX5" fmla="*/ 1089208 w 1112393"/>
                    <a:gd name="connsiteY5" fmla="*/ 680565 h 2194956"/>
                    <a:gd name="connsiteX6" fmla="*/ 1089208 w 1112393"/>
                    <a:gd name="connsiteY6" fmla="*/ 702296 h 2194956"/>
                    <a:gd name="connsiteX7" fmla="*/ 1089208 w 1112393"/>
                    <a:gd name="connsiteY7" fmla="*/ 960493 h 2194956"/>
                    <a:gd name="connsiteX8" fmla="*/ 1089208 w 1112393"/>
                    <a:gd name="connsiteY8" fmla="*/ 1515535 h 2194956"/>
                    <a:gd name="connsiteX9" fmla="*/ 776208 w 1112393"/>
                    <a:gd name="connsiteY9" fmla="*/ 1960526 h 2194956"/>
                    <a:gd name="connsiteX10" fmla="*/ 221534 w 1112393"/>
                    <a:gd name="connsiteY10" fmla="*/ 2174813 h 2194956"/>
                    <a:gd name="connsiteX11" fmla="*/ 205145 w 1112393"/>
                    <a:gd name="connsiteY11" fmla="*/ 2185889 h 2194956"/>
                    <a:gd name="connsiteX12" fmla="*/ 188728 w 1112393"/>
                    <a:gd name="connsiteY12" fmla="*/ 2185889 h 2194956"/>
                    <a:gd name="connsiteX13" fmla="*/ 166548 w 1112393"/>
                    <a:gd name="connsiteY13" fmla="*/ 2185889 h 2194956"/>
                    <a:gd name="connsiteX14" fmla="*/ 106275 w 1112393"/>
                    <a:gd name="connsiteY14" fmla="*/ 2185889 h 2194956"/>
                    <a:gd name="connsiteX15" fmla="*/ 51289 w 1112393"/>
                    <a:gd name="connsiteY15" fmla="*/ 2152634 h 2194956"/>
                    <a:gd name="connsiteX16" fmla="*/ 29559 w 1112393"/>
                    <a:gd name="connsiteY16" fmla="*/ 2092280 h 2194956"/>
                    <a:gd name="connsiteX17" fmla="*/ 2065 w 1112393"/>
                    <a:gd name="connsiteY17" fmla="*/ 2015538 h 2194956"/>
                    <a:gd name="connsiteX18" fmla="*/ 34873 w 1112393"/>
                    <a:gd name="connsiteY18" fmla="*/ 1927692 h 2194956"/>
                    <a:gd name="connsiteX19" fmla="*/ 111590 w 1112393"/>
                    <a:gd name="connsiteY19" fmla="*/ 1900173 h 2194956"/>
                    <a:gd name="connsiteX20" fmla="*/ 358974 w 1112393"/>
                    <a:gd name="connsiteY20" fmla="*/ 1806565 h 2194956"/>
                    <a:gd name="connsiteX21" fmla="*/ 754032 w 1112393"/>
                    <a:gd name="connsiteY21" fmla="*/ 1565206 h 2194956"/>
                    <a:gd name="connsiteX22" fmla="*/ 787285 w 1112393"/>
                    <a:gd name="connsiteY22" fmla="*/ 1031922 h 2194956"/>
                    <a:gd name="connsiteX23" fmla="*/ 216221 w 1112393"/>
                    <a:gd name="connsiteY23" fmla="*/ 1031922 h 2194956"/>
                    <a:gd name="connsiteX24" fmla="*/ 128428 w 1112393"/>
                    <a:gd name="connsiteY24" fmla="*/ 1031922 h 2194956"/>
                    <a:gd name="connsiteX25" fmla="*/ 62366 w 1112393"/>
                    <a:gd name="connsiteY25" fmla="*/ 966281 h 2194956"/>
                    <a:gd name="connsiteX26" fmla="*/ 62366 w 1112393"/>
                    <a:gd name="connsiteY26" fmla="*/ 878435 h 2194956"/>
                    <a:gd name="connsiteX27" fmla="*/ 62366 w 1112393"/>
                    <a:gd name="connsiteY27" fmla="*/ 164566 h 2194956"/>
                    <a:gd name="connsiteX28" fmla="*/ 62366 w 1112393"/>
                    <a:gd name="connsiteY28" fmla="*/ 76721 h 2194956"/>
                    <a:gd name="connsiteX29" fmla="*/ 128428 w 1112393"/>
                    <a:gd name="connsiteY29" fmla="*/ 5291 h 2194956"/>
                    <a:gd name="connsiteX30" fmla="*/ 216221 w 1112393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9224 h 2198889"/>
                    <a:gd name="connsiteX1" fmla="*/ 927552 w 1110328"/>
                    <a:gd name="connsiteY1" fmla="*/ 9224 h 2198889"/>
                    <a:gd name="connsiteX2" fmla="*/ 1015319 w 1110328"/>
                    <a:gd name="connsiteY2" fmla="*/ 9224 h 2198889"/>
                    <a:gd name="connsiteX3" fmla="*/ 1087143 w 1110328"/>
                    <a:gd name="connsiteY3" fmla="*/ 80654 h 2198889"/>
                    <a:gd name="connsiteX4" fmla="*/ 1087143 w 1110328"/>
                    <a:gd name="connsiteY4" fmla="*/ 168499 h 2198889"/>
                    <a:gd name="connsiteX5" fmla="*/ 1087143 w 1110328"/>
                    <a:gd name="connsiteY5" fmla="*/ 684498 h 2198889"/>
                    <a:gd name="connsiteX6" fmla="*/ 1087143 w 1110328"/>
                    <a:gd name="connsiteY6" fmla="*/ 706229 h 2198889"/>
                    <a:gd name="connsiteX7" fmla="*/ 1087143 w 1110328"/>
                    <a:gd name="connsiteY7" fmla="*/ 964426 h 2198889"/>
                    <a:gd name="connsiteX8" fmla="*/ 1087143 w 1110328"/>
                    <a:gd name="connsiteY8" fmla="*/ 1519468 h 2198889"/>
                    <a:gd name="connsiteX9" fmla="*/ 774143 w 1110328"/>
                    <a:gd name="connsiteY9" fmla="*/ 1964459 h 2198889"/>
                    <a:gd name="connsiteX10" fmla="*/ 219469 w 1110328"/>
                    <a:gd name="connsiteY10" fmla="*/ 2178746 h 2198889"/>
                    <a:gd name="connsiteX11" fmla="*/ 203080 w 1110328"/>
                    <a:gd name="connsiteY11" fmla="*/ 2189822 h 2198889"/>
                    <a:gd name="connsiteX12" fmla="*/ 186663 w 1110328"/>
                    <a:gd name="connsiteY12" fmla="*/ 2189822 h 2198889"/>
                    <a:gd name="connsiteX13" fmla="*/ 164483 w 1110328"/>
                    <a:gd name="connsiteY13" fmla="*/ 2189822 h 2198889"/>
                    <a:gd name="connsiteX14" fmla="*/ 104210 w 1110328"/>
                    <a:gd name="connsiteY14" fmla="*/ 2189822 h 2198889"/>
                    <a:gd name="connsiteX15" fmla="*/ 49224 w 1110328"/>
                    <a:gd name="connsiteY15" fmla="*/ 2156567 h 2198889"/>
                    <a:gd name="connsiteX16" fmla="*/ 27494 w 1110328"/>
                    <a:gd name="connsiteY16" fmla="*/ 2096213 h 2198889"/>
                    <a:gd name="connsiteX17" fmla="*/ 0 w 1110328"/>
                    <a:gd name="connsiteY17" fmla="*/ 2019471 h 2198889"/>
                    <a:gd name="connsiteX18" fmla="*/ 32808 w 1110328"/>
                    <a:gd name="connsiteY18" fmla="*/ 1931625 h 2198889"/>
                    <a:gd name="connsiteX19" fmla="*/ 109525 w 1110328"/>
                    <a:gd name="connsiteY19" fmla="*/ 1904106 h 2198889"/>
                    <a:gd name="connsiteX20" fmla="*/ 356909 w 1110328"/>
                    <a:gd name="connsiteY20" fmla="*/ 1810498 h 2198889"/>
                    <a:gd name="connsiteX21" fmla="*/ 751967 w 1110328"/>
                    <a:gd name="connsiteY21" fmla="*/ 1569139 h 2198889"/>
                    <a:gd name="connsiteX22" fmla="*/ 785220 w 1110328"/>
                    <a:gd name="connsiteY22" fmla="*/ 1035855 h 2198889"/>
                    <a:gd name="connsiteX23" fmla="*/ 214156 w 1110328"/>
                    <a:gd name="connsiteY23" fmla="*/ 1035855 h 2198889"/>
                    <a:gd name="connsiteX24" fmla="*/ 126363 w 1110328"/>
                    <a:gd name="connsiteY24" fmla="*/ 1035855 h 2198889"/>
                    <a:gd name="connsiteX25" fmla="*/ 60301 w 1110328"/>
                    <a:gd name="connsiteY25" fmla="*/ 970214 h 2198889"/>
                    <a:gd name="connsiteX26" fmla="*/ 60301 w 1110328"/>
                    <a:gd name="connsiteY26" fmla="*/ 882368 h 2198889"/>
                    <a:gd name="connsiteX27" fmla="*/ 60301 w 1110328"/>
                    <a:gd name="connsiteY27" fmla="*/ 168499 h 2198889"/>
                    <a:gd name="connsiteX28" fmla="*/ 60301 w 1110328"/>
                    <a:gd name="connsiteY28" fmla="*/ 80654 h 2198889"/>
                    <a:gd name="connsiteX29" fmla="*/ 126363 w 1110328"/>
                    <a:gd name="connsiteY29" fmla="*/ 9224 h 2198889"/>
                    <a:gd name="connsiteX30" fmla="*/ 214156 w 1110328"/>
                    <a:gd name="connsiteY30" fmla="*/ 9224 h 2198889"/>
                    <a:gd name="connsiteX0" fmla="*/ 214156 w 1110328"/>
                    <a:gd name="connsiteY0" fmla="*/ 5292 h 2194957"/>
                    <a:gd name="connsiteX1" fmla="*/ 927552 w 1110328"/>
                    <a:gd name="connsiteY1" fmla="*/ 5292 h 2194957"/>
                    <a:gd name="connsiteX2" fmla="*/ 1015319 w 1110328"/>
                    <a:gd name="connsiteY2" fmla="*/ 5292 h 2194957"/>
                    <a:gd name="connsiteX3" fmla="*/ 1087143 w 1110328"/>
                    <a:gd name="connsiteY3" fmla="*/ 76722 h 2194957"/>
                    <a:gd name="connsiteX4" fmla="*/ 1087143 w 1110328"/>
                    <a:gd name="connsiteY4" fmla="*/ 164567 h 2194957"/>
                    <a:gd name="connsiteX5" fmla="*/ 1087143 w 1110328"/>
                    <a:gd name="connsiteY5" fmla="*/ 680566 h 2194957"/>
                    <a:gd name="connsiteX6" fmla="*/ 1087143 w 1110328"/>
                    <a:gd name="connsiteY6" fmla="*/ 702297 h 2194957"/>
                    <a:gd name="connsiteX7" fmla="*/ 1087143 w 1110328"/>
                    <a:gd name="connsiteY7" fmla="*/ 960494 h 2194957"/>
                    <a:gd name="connsiteX8" fmla="*/ 1087143 w 1110328"/>
                    <a:gd name="connsiteY8" fmla="*/ 1515536 h 2194957"/>
                    <a:gd name="connsiteX9" fmla="*/ 774143 w 1110328"/>
                    <a:gd name="connsiteY9" fmla="*/ 1960527 h 2194957"/>
                    <a:gd name="connsiteX10" fmla="*/ 219469 w 1110328"/>
                    <a:gd name="connsiteY10" fmla="*/ 2174814 h 2194957"/>
                    <a:gd name="connsiteX11" fmla="*/ 203080 w 1110328"/>
                    <a:gd name="connsiteY11" fmla="*/ 2185890 h 2194957"/>
                    <a:gd name="connsiteX12" fmla="*/ 186663 w 1110328"/>
                    <a:gd name="connsiteY12" fmla="*/ 2185890 h 2194957"/>
                    <a:gd name="connsiteX13" fmla="*/ 164483 w 1110328"/>
                    <a:gd name="connsiteY13" fmla="*/ 2185890 h 2194957"/>
                    <a:gd name="connsiteX14" fmla="*/ 104210 w 1110328"/>
                    <a:gd name="connsiteY14" fmla="*/ 2185890 h 2194957"/>
                    <a:gd name="connsiteX15" fmla="*/ 49224 w 1110328"/>
                    <a:gd name="connsiteY15" fmla="*/ 2152635 h 2194957"/>
                    <a:gd name="connsiteX16" fmla="*/ 27494 w 1110328"/>
                    <a:gd name="connsiteY16" fmla="*/ 2092281 h 2194957"/>
                    <a:gd name="connsiteX17" fmla="*/ 0 w 1110328"/>
                    <a:gd name="connsiteY17" fmla="*/ 2015539 h 2194957"/>
                    <a:gd name="connsiteX18" fmla="*/ 32808 w 1110328"/>
                    <a:gd name="connsiteY18" fmla="*/ 1927693 h 2194957"/>
                    <a:gd name="connsiteX19" fmla="*/ 109525 w 1110328"/>
                    <a:gd name="connsiteY19" fmla="*/ 1900174 h 2194957"/>
                    <a:gd name="connsiteX20" fmla="*/ 356909 w 1110328"/>
                    <a:gd name="connsiteY20" fmla="*/ 1806566 h 2194957"/>
                    <a:gd name="connsiteX21" fmla="*/ 751967 w 1110328"/>
                    <a:gd name="connsiteY21" fmla="*/ 1565207 h 2194957"/>
                    <a:gd name="connsiteX22" fmla="*/ 785220 w 1110328"/>
                    <a:gd name="connsiteY22" fmla="*/ 1031923 h 2194957"/>
                    <a:gd name="connsiteX23" fmla="*/ 214156 w 1110328"/>
                    <a:gd name="connsiteY23" fmla="*/ 1031923 h 2194957"/>
                    <a:gd name="connsiteX24" fmla="*/ 126363 w 1110328"/>
                    <a:gd name="connsiteY24" fmla="*/ 1031923 h 2194957"/>
                    <a:gd name="connsiteX25" fmla="*/ 60301 w 1110328"/>
                    <a:gd name="connsiteY25" fmla="*/ 966282 h 2194957"/>
                    <a:gd name="connsiteX26" fmla="*/ 60301 w 1110328"/>
                    <a:gd name="connsiteY26" fmla="*/ 878436 h 2194957"/>
                    <a:gd name="connsiteX27" fmla="*/ 60301 w 1110328"/>
                    <a:gd name="connsiteY27" fmla="*/ 164567 h 2194957"/>
                    <a:gd name="connsiteX28" fmla="*/ 60301 w 1110328"/>
                    <a:gd name="connsiteY28" fmla="*/ 76722 h 2194957"/>
                    <a:gd name="connsiteX29" fmla="*/ 126363 w 1110328"/>
                    <a:gd name="connsiteY29" fmla="*/ 5292 h 2194957"/>
                    <a:gd name="connsiteX30" fmla="*/ 214156 w 1110328"/>
                    <a:gd name="connsiteY30" fmla="*/ 5292 h 2194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1110328" h="2194957">
                      <a:moveTo>
                        <a:pt x="214156" y="5292"/>
                      </a:moveTo>
                      <a:lnTo>
                        <a:pt x="927552" y="5292"/>
                      </a:lnTo>
                      <a:cubicBezTo>
                        <a:pt x="1061079" y="5292"/>
                        <a:pt x="988721" y="-6613"/>
                        <a:pt x="1015319" y="5292"/>
                      </a:cubicBezTo>
                      <a:cubicBezTo>
                        <a:pt x="1041917" y="17197"/>
                        <a:pt x="1087143" y="47602"/>
                        <a:pt x="1087143" y="76722"/>
                      </a:cubicBezTo>
                      <a:lnTo>
                        <a:pt x="1087143" y="164567"/>
                      </a:lnTo>
                      <a:lnTo>
                        <a:pt x="1087143" y="680566"/>
                      </a:lnTo>
                      <a:lnTo>
                        <a:pt x="1087143" y="702297"/>
                      </a:lnTo>
                      <a:lnTo>
                        <a:pt x="1087143" y="960494"/>
                      </a:lnTo>
                      <a:cubicBezTo>
                        <a:pt x="1087143" y="1096034"/>
                        <a:pt x="1139310" y="1348864"/>
                        <a:pt x="1087143" y="1515536"/>
                      </a:cubicBezTo>
                      <a:cubicBezTo>
                        <a:pt x="1034976" y="1682208"/>
                        <a:pt x="943561" y="1895076"/>
                        <a:pt x="774143" y="1960527"/>
                      </a:cubicBezTo>
                      <a:lnTo>
                        <a:pt x="219469" y="2174814"/>
                      </a:lnTo>
                      <a:cubicBezTo>
                        <a:pt x="124292" y="2212375"/>
                        <a:pt x="208851" y="2185890"/>
                        <a:pt x="203080" y="2185890"/>
                      </a:cubicBezTo>
                      <a:lnTo>
                        <a:pt x="186663" y="2185890"/>
                      </a:lnTo>
                      <a:lnTo>
                        <a:pt x="164483" y="2185890"/>
                      </a:lnTo>
                      <a:cubicBezTo>
                        <a:pt x="150741" y="2185890"/>
                        <a:pt x="121318" y="2196237"/>
                        <a:pt x="104210" y="2185890"/>
                      </a:cubicBezTo>
                      <a:lnTo>
                        <a:pt x="49224" y="2152635"/>
                      </a:lnTo>
                      <a:cubicBezTo>
                        <a:pt x="36438" y="2137034"/>
                        <a:pt x="35682" y="2115136"/>
                        <a:pt x="27494" y="2092281"/>
                      </a:cubicBezTo>
                      <a:lnTo>
                        <a:pt x="0" y="2015539"/>
                      </a:lnTo>
                      <a:cubicBezTo>
                        <a:pt x="886" y="1988108"/>
                        <a:pt x="7853" y="1936645"/>
                        <a:pt x="32808" y="1927693"/>
                      </a:cubicBezTo>
                      <a:lnTo>
                        <a:pt x="109525" y="1900174"/>
                      </a:lnTo>
                      <a:cubicBezTo>
                        <a:pt x="163542" y="1879986"/>
                        <a:pt x="253864" y="1869521"/>
                        <a:pt x="356909" y="1806566"/>
                      </a:cubicBezTo>
                      <a:lnTo>
                        <a:pt x="751967" y="1565207"/>
                      </a:lnTo>
                      <a:cubicBezTo>
                        <a:pt x="823352" y="1436100"/>
                        <a:pt x="911451" y="1031923"/>
                        <a:pt x="785220" y="1031923"/>
                      </a:cubicBezTo>
                      <a:lnTo>
                        <a:pt x="214156" y="1031923"/>
                      </a:lnTo>
                      <a:cubicBezTo>
                        <a:pt x="104347" y="1031923"/>
                        <a:pt x="152006" y="1042863"/>
                        <a:pt x="126363" y="1031923"/>
                      </a:cubicBezTo>
                      <a:cubicBezTo>
                        <a:pt x="100721" y="1020983"/>
                        <a:pt x="60301" y="994132"/>
                        <a:pt x="60301" y="966282"/>
                      </a:cubicBezTo>
                      <a:lnTo>
                        <a:pt x="60301" y="878436"/>
                      </a:lnTo>
                      <a:lnTo>
                        <a:pt x="60301" y="164567"/>
                      </a:lnTo>
                      <a:cubicBezTo>
                        <a:pt x="60301" y="30948"/>
                        <a:pt x="40788" y="97820"/>
                        <a:pt x="60301" y="76722"/>
                      </a:cubicBezTo>
                      <a:lnTo>
                        <a:pt x="126363" y="5292"/>
                      </a:lnTo>
                      <a:cubicBezTo>
                        <a:pt x="152005" y="-6613"/>
                        <a:pt x="80625" y="5292"/>
                        <a:pt x="214156" y="5292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 w="6350" cap="sq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400"/>
                    </a:spcBef>
                    <a:spcAft>
                      <a:spcPts val="400"/>
                    </a:spcAft>
                  </a:pPr>
                  <a:endParaRPr lang="en-US" sz="2133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60" name="Freeform: Shape 259">
                  <a:extLst>
                    <a:ext uri="{FF2B5EF4-FFF2-40B4-BE49-F238E27FC236}">
                      <a16:creationId xmlns:a16="http://schemas.microsoft.com/office/drawing/2014/main" id="{C81ED6B2-DABE-4D8B-A828-75C00C4B897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283146" y="4018207"/>
                  <a:ext cx="1110328" cy="2194957"/>
                </a:xfrm>
                <a:custGeom>
                  <a:avLst/>
                  <a:gdLst>
                    <a:gd name="connsiteX0" fmla="*/ 214156 w 1087143"/>
                    <a:gd name="connsiteY0" fmla="*/ 0 h 2180598"/>
                    <a:gd name="connsiteX1" fmla="*/ 927552 w 1087143"/>
                    <a:gd name="connsiteY1" fmla="*/ 0 h 2180598"/>
                    <a:gd name="connsiteX2" fmla="*/ 1015319 w 1087143"/>
                    <a:gd name="connsiteY2" fmla="*/ 0 h 2180598"/>
                    <a:gd name="connsiteX3" fmla="*/ 1087143 w 1087143"/>
                    <a:gd name="connsiteY3" fmla="*/ 71430 h 2180598"/>
                    <a:gd name="connsiteX4" fmla="*/ 1087143 w 1087143"/>
                    <a:gd name="connsiteY4" fmla="*/ 159275 h 2180598"/>
                    <a:gd name="connsiteX5" fmla="*/ 1087143 w 1087143"/>
                    <a:gd name="connsiteY5" fmla="*/ 675274 h 2180598"/>
                    <a:gd name="connsiteX6" fmla="*/ 1087143 w 1087143"/>
                    <a:gd name="connsiteY6" fmla="*/ 697005 h 2180598"/>
                    <a:gd name="connsiteX7" fmla="*/ 1087143 w 1087143"/>
                    <a:gd name="connsiteY7" fmla="*/ 955202 h 2180598"/>
                    <a:gd name="connsiteX8" fmla="*/ 1087143 w 1087143"/>
                    <a:gd name="connsiteY8" fmla="*/ 1510244 h 2180598"/>
                    <a:gd name="connsiteX9" fmla="*/ 774143 w 1087143"/>
                    <a:gd name="connsiteY9" fmla="*/ 1955235 h 2180598"/>
                    <a:gd name="connsiteX10" fmla="*/ 219469 w 1087143"/>
                    <a:gd name="connsiteY10" fmla="*/ 2169522 h 2180598"/>
                    <a:gd name="connsiteX11" fmla="*/ 203080 w 1087143"/>
                    <a:gd name="connsiteY11" fmla="*/ 2180598 h 2180598"/>
                    <a:gd name="connsiteX12" fmla="*/ 186663 w 1087143"/>
                    <a:gd name="connsiteY12" fmla="*/ 2180598 h 2180598"/>
                    <a:gd name="connsiteX13" fmla="*/ 164483 w 1087143"/>
                    <a:gd name="connsiteY13" fmla="*/ 2180598 h 2180598"/>
                    <a:gd name="connsiteX14" fmla="*/ 104210 w 1087143"/>
                    <a:gd name="connsiteY14" fmla="*/ 2180598 h 2180598"/>
                    <a:gd name="connsiteX15" fmla="*/ 49224 w 1087143"/>
                    <a:gd name="connsiteY15" fmla="*/ 2147343 h 2180598"/>
                    <a:gd name="connsiteX16" fmla="*/ 27494 w 1087143"/>
                    <a:gd name="connsiteY16" fmla="*/ 2086989 h 2180598"/>
                    <a:gd name="connsiteX17" fmla="*/ 0 w 1087143"/>
                    <a:gd name="connsiteY17" fmla="*/ 2010247 h 2180598"/>
                    <a:gd name="connsiteX18" fmla="*/ 32808 w 1087143"/>
                    <a:gd name="connsiteY18" fmla="*/ 1922401 h 2180598"/>
                    <a:gd name="connsiteX19" fmla="*/ 109525 w 1087143"/>
                    <a:gd name="connsiteY19" fmla="*/ 1894882 h 2180598"/>
                    <a:gd name="connsiteX20" fmla="*/ 356909 w 1087143"/>
                    <a:gd name="connsiteY20" fmla="*/ 1801274 h 2180598"/>
                    <a:gd name="connsiteX21" fmla="*/ 751967 w 1087143"/>
                    <a:gd name="connsiteY21" fmla="*/ 1559915 h 2180598"/>
                    <a:gd name="connsiteX22" fmla="*/ 785220 w 1087143"/>
                    <a:gd name="connsiteY22" fmla="*/ 1026631 h 2180598"/>
                    <a:gd name="connsiteX23" fmla="*/ 214156 w 1087143"/>
                    <a:gd name="connsiteY23" fmla="*/ 1026631 h 2180598"/>
                    <a:gd name="connsiteX24" fmla="*/ 126363 w 1087143"/>
                    <a:gd name="connsiteY24" fmla="*/ 1026631 h 2180598"/>
                    <a:gd name="connsiteX25" fmla="*/ 60301 w 1087143"/>
                    <a:gd name="connsiteY25" fmla="*/ 960990 h 2180598"/>
                    <a:gd name="connsiteX26" fmla="*/ 60301 w 1087143"/>
                    <a:gd name="connsiteY26" fmla="*/ 873144 h 2180598"/>
                    <a:gd name="connsiteX27" fmla="*/ 60301 w 1087143"/>
                    <a:gd name="connsiteY27" fmla="*/ 159275 h 2180598"/>
                    <a:gd name="connsiteX28" fmla="*/ 60301 w 1087143"/>
                    <a:gd name="connsiteY28" fmla="*/ 71430 h 2180598"/>
                    <a:gd name="connsiteX29" fmla="*/ 126363 w 1087143"/>
                    <a:gd name="connsiteY29" fmla="*/ 0 h 2180598"/>
                    <a:gd name="connsiteX30" fmla="*/ 214156 w 1087143"/>
                    <a:gd name="connsiteY30" fmla="*/ 0 h 2180598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110328"/>
                    <a:gd name="connsiteY0" fmla="*/ 5291 h 2185889"/>
                    <a:gd name="connsiteX1" fmla="*/ 927552 w 1110328"/>
                    <a:gd name="connsiteY1" fmla="*/ 5291 h 2185889"/>
                    <a:gd name="connsiteX2" fmla="*/ 1015319 w 1110328"/>
                    <a:gd name="connsiteY2" fmla="*/ 5291 h 2185889"/>
                    <a:gd name="connsiteX3" fmla="*/ 1087143 w 1110328"/>
                    <a:gd name="connsiteY3" fmla="*/ 76721 h 2185889"/>
                    <a:gd name="connsiteX4" fmla="*/ 1087143 w 1110328"/>
                    <a:gd name="connsiteY4" fmla="*/ 164566 h 2185889"/>
                    <a:gd name="connsiteX5" fmla="*/ 1087143 w 1110328"/>
                    <a:gd name="connsiteY5" fmla="*/ 680565 h 2185889"/>
                    <a:gd name="connsiteX6" fmla="*/ 1087143 w 1110328"/>
                    <a:gd name="connsiteY6" fmla="*/ 702296 h 2185889"/>
                    <a:gd name="connsiteX7" fmla="*/ 1087143 w 1110328"/>
                    <a:gd name="connsiteY7" fmla="*/ 960493 h 2185889"/>
                    <a:gd name="connsiteX8" fmla="*/ 1087143 w 1110328"/>
                    <a:gd name="connsiteY8" fmla="*/ 1515535 h 2185889"/>
                    <a:gd name="connsiteX9" fmla="*/ 774143 w 1110328"/>
                    <a:gd name="connsiteY9" fmla="*/ 1960526 h 2185889"/>
                    <a:gd name="connsiteX10" fmla="*/ 219469 w 1110328"/>
                    <a:gd name="connsiteY10" fmla="*/ 2174813 h 2185889"/>
                    <a:gd name="connsiteX11" fmla="*/ 203080 w 1110328"/>
                    <a:gd name="connsiteY11" fmla="*/ 2185889 h 2185889"/>
                    <a:gd name="connsiteX12" fmla="*/ 186663 w 1110328"/>
                    <a:gd name="connsiteY12" fmla="*/ 2185889 h 2185889"/>
                    <a:gd name="connsiteX13" fmla="*/ 164483 w 1110328"/>
                    <a:gd name="connsiteY13" fmla="*/ 2185889 h 2185889"/>
                    <a:gd name="connsiteX14" fmla="*/ 104210 w 1110328"/>
                    <a:gd name="connsiteY14" fmla="*/ 2185889 h 2185889"/>
                    <a:gd name="connsiteX15" fmla="*/ 49224 w 1110328"/>
                    <a:gd name="connsiteY15" fmla="*/ 2152634 h 2185889"/>
                    <a:gd name="connsiteX16" fmla="*/ 27494 w 1110328"/>
                    <a:gd name="connsiteY16" fmla="*/ 2092280 h 2185889"/>
                    <a:gd name="connsiteX17" fmla="*/ 0 w 1110328"/>
                    <a:gd name="connsiteY17" fmla="*/ 2015538 h 2185889"/>
                    <a:gd name="connsiteX18" fmla="*/ 32808 w 1110328"/>
                    <a:gd name="connsiteY18" fmla="*/ 1927692 h 2185889"/>
                    <a:gd name="connsiteX19" fmla="*/ 109525 w 1110328"/>
                    <a:gd name="connsiteY19" fmla="*/ 1900173 h 2185889"/>
                    <a:gd name="connsiteX20" fmla="*/ 356909 w 1110328"/>
                    <a:gd name="connsiteY20" fmla="*/ 1806565 h 2185889"/>
                    <a:gd name="connsiteX21" fmla="*/ 751967 w 1110328"/>
                    <a:gd name="connsiteY21" fmla="*/ 1565206 h 2185889"/>
                    <a:gd name="connsiteX22" fmla="*/ 785220 w 1110328"/>
                    <a:gd name="connsiteY22" fmla="*/ 1031922 h 2185889"/>
                    <a:gd name="connsiteX23" fmla="*/ 214156 w 1110328"/>
                    <a:gd name="connsiteY23" fmla="*/ 1031922 h 2185889"/>
                    <a:gd name="connsiteX24" fmla="*/ 126363 w 1110328"/>
                    <a:gd name="connsiteY24" fmla="*/ 1031922 h 2185889"/>
                    <a:gd name="connsiteX25" fmla="*/ 60301 w 1110328"/>
                    <a:gd name="connsiteY25" fmla="*/ 966281 h 2185889"/>
                    <a:gd name="connsiteX26" fmla="*/ 60301 w 1110328"/>
                    <a:gd name="connsiteY26" fmla="*/ 878435 h 2185889"/>
                    <a:gd name="connsiteX27" fmla="*/ 60301 w 1110328"/>
                    <a:gd name="connsiteY27" fmla="*/ 164566 h 2185889"/>
                    <a:gd name="connsiteX28" fmla="*/ 60301 w 1110328"/>
                    <a:gd name="connsiteY28" fmla="*/ 76721 h 2185889"/>
                    <a:gd name="connsiteX29" fmla="*/ 126363 w 1110328"/>
                    <a:gd name="connsiteY29" fmla="*/ 5291 h 2185889"/>
                    <a:gd name="connsiteX30" fmla="*/ 214156 w 1110328"/>
                    <a:gd name="connsiteY30" fmla="*/ 5291 h 2185889"/>
                    <a:gd name="connsiteX0" fmla="*/ 214156 w 1110328"/>
                    <a:gd name="connsiteY0" fmla="*/ 5291 h 2185889"/>
                    <a:gd name="connsiteX1" fmla="*/ 927552 w 1110328"/>
                    <a:gd name="connsiteY1" fmla="*/ 5291 h 2185889"/>
                    <a:gd name="connsiteX2" fmla="*/ 1015319 w 1110328"/>
                    <a:gd name="connsiteY2" fmla="*/ 5291 h 2185889"/>
                    <a:gd name="connsiteX3" fmla="*/ 1087143 w 1110328"/>
                    <a:gd name="connsiteY3" fmla="*/ 76721 h 2185889"/>
                    <a:gd name="connsiteX4" fmla="*/ 1087143 w 1110328"/>
                    <a:gd name="connsiteY4" fmla="*/ 164566 h 2185889"/>
                    <a:gd name="connsiteX5" fmla="*/ 1087143 w 1110328"/>
                    <a:gd name="connsiteY5" fmla="*/ 680565 h 2185889"/>
                    <a:gd name="connsiteX6" fmla="*/ 1087143 w 1110328"/>
                    <a:gd name="connsiteY6" fmla="*/ 702296 h 2185889"/>
                    <a:gd name="connsiteX7" fmla="*/ 1087143 w 1110328"/>
                    <a:gd name="connsiteY7" fmla="*/ 960493 h 2185889"/>
                    <a:gd name="connsiteX8" fmla="*/ 1087143 w 1110328"/>
                    <a:gd name="connsiteY8" fmla="*/ 1515535 h 2185889"/>
                    <a:gd name="connsiteX9" fmla="*/ 774143 w 1110328"/>
                    <a:gd name="connsiteY9" fmla="*/ 1960526 h 2185889"/>
                    <a:gd name="connsiteX10" fmla="*/ 219469 w 1110328"/>
                    <a:gd name="connsiteY10" fmla="*/ 2174813 h 2185889"/>
                    <a:gd name="connsiteX11" fmla="*/ 203080 w 1110328"/>
                    <a:gd name="connsiteY11" fmla="*/ 2185889 h 2185889"/>
                    <a:gd name="connsiteX12" fmla="*/ 186663 w 1110328"/>
                    <a:gd name="connsiteY12" fmla="*/ 2185889 h 2185889"/>
                    <a:gd name="connsiteX13" fmla="*/ 164483 w 1110328"/>
                    <a:gd name="connsiteY13" fmla="*/ 2185889 h 2185889"/>
                    <a:gd name="connsiteX14" fmla="*/ 104210 w 1110328"/>
                    <a:gd name="connsiteY14" fmla="*/ 2185889 h 2185889"/>
                    <a:gd name="connsiteX15" fmla="*/ 49224 w 1110328"/>
                    <a:gd name="connsiteY15" fmla="*/ 2152634 h 2185889"/>
                    <a:gd name="connsiteX16" fmla="*/ 27494 w 1110328"/>
                    <a:gd name="connsiteY16" fmla="*/ 2092280 h 2185889"/>
                    <a:gd name="connsiteX17" fmla="*/ 0 w 1110328"/>
                    <a:gd name="connsiteY17" fmla="*/ 2015538 h 2185889"/>
                    <a:gd name="connsiteX18" fmla="*/ 32808 w 1110328"/>
                    <a:gd name="connsiteY18" fmla="*/ 1927692 h 2185889"/>
                    <a:gd name="connsiteX19" fmla="*/ 109525 w 1110328"/>
                    <a:gd name="connsiteY19" fmla="*/ 1900173 h 2185889"/>
                    <a:gd name="connsiteX20" fmla="*/ 356909 w 1110328"/>
                    <a:gd name="connsiteY20" fmla="*/ 1806565 h 2185889"/>
                    <a:gd name="connsiteX21" fmla="*/ 751967 w 1110328"/>
                    <a:gd name="connsiteY21" fmla="*/ 1565206 h 2185889"/>
                    <a:gd name="connsiteX22" fmla="*/ 785220 w 1110328"/>
                    <a:gd name="connsiteY22" fmla="*/ 1031922 h 2185889"/>
                    <a:gd name="connsiteX23" fmla="*/ 214156 w 1110328"/>
                    <a:gd name="connsiteY23" fmla="*/ 1031922 h 2185889"/>
                    <a:gd name="connsiteX24" fmla="*/ 126363 w 1110328"/>
                    <a:gd name="connsiteY24" fmla="*/ 1031922 h 2185889"/>
                    <a:gd name="connsiteX25" fmla="*/ 60301 w 1110328"/>
                    <a:gd name="connsiteY25" fmla="*/ 966281 h 2185889"/>
                    <a:gd name="connsiteX26" fmla="*/ 60301 w 1110328"/>
                    <a:gd name="connsiteY26" fmla="*/ 878435 h 2185889"/>
                    <a:gd name="connsiteX27" fmla="*/ 60301 w 1110328"/>
                    <a:gd name="connsiteY27" fmla="*/ 164566 h 2185889"/>
                    <a:gd name="connsiteX28" fmla="*/ 60301 w 1110328"/>
                    <a:gd name="connsiteY28" fmla="*/ 76721 h 2185889"/>
                    <a:gd name="connsiteX29" fmla="*/ 126363 w 1110328"/>
                    <a:gd name="connsiteY29" fmla="*/ 5291 h 2185889"/>
                    <a:gd name="connsiteX30" fmla="*/ 214156 w 1110328"/>
                    <a:gd name="connsiteY30" fmla="*/ 5291 h 2185889"/>
                    <a:gd name="connsiteX0" fmla="*/ 214156 w 1110328"/>
                    <a:gd name="connsiteY0" fmla="*/ 5291 h 2194111"/>
                    <a:gd name="connsiteX1" fmla="*/ 927552 w 1110328"/>
                    <a:gd name="connsiteY1" fmla="*/ 5291 h 2194111"/>
                    <a:gd name="connsiteX2" fmla="*/ 1015319 w 1110328"/>
                    <a:gd name="connsiteY2" fmla="*/ 5291 h 2194111"/>
                    <a:gd name="connsiteX3" fmla="*/ 1087143 w 1110328"/>
                    <a:gd name="connsiteY3" fmla="*/ 76721 h 2194111"/>
                    <a:gd name="connsiteX4" fmla="*/ 1087143 w 1110328"/>
                    <a:gd name="connsiteY4" fmla="*/ 164566 h 2194111"/>
                    <a:gd name="connsiteX5" fmla="*/ 1087143 w 1110328"/>
                    <a:gd name="connsiteY5" fmla="*/ 680565 h 2194111"/>
                    <a:gd name="connsiteX6" fmla="*/ 1087143 w 1110328"/>
                    <a:gd name="connsiteY6" fmla="*/ 702296 h 2194111"/>
                    <a:gd name="connsiteX7" fmla="*/ 1087143 w 1110328"/>
                    <a:gd name="connsiteY7" fmla="*/ 960493 h 2194111"/>
                    <a:gd name="connsiteX8" fmla="*/ 1087143 w 1110328"/>
                    <a:gd name="connsiteY8" fmla="*/ 1515535 h 2194111"/>
                    <a:gd name="connsiteX9" fmla="*/ 774143 w 1110328"/>
                    <a:gd name="connsiteY9" fmla="*/ 1960526 h 2194111"/>
                    <a:gd name="connsiteX10" fmla="*/ 219469 w 1110328"/>
                    <a:gd name="connsiteY10" fmla="*/ 2174813 h 2194111"/>
                    <a:gd name="connsiteX11" fmla="*/ 203080 w 1110328"/>
                    <a:gd name="connsiteY11" fmla="*/ 2185889 h 2194111"/>
                    <a:gd name="connsiteX12" fmla="*/ 186663 w 1110328"/>
                    <a:gd name="connsiteY12" fmla="*/ 2185889 h 2194111"/>
                    <a:gd name="connsiteX13" fmla="*/ 164483 w 1110328"/>
                    <a:gd name="connsiteY13" fmla="*/ 2185889 h 2194111"/>
                    <a:gd name="connsiteX14" fmla="*/ 104210 w 1110328"/>
                    <a:gd name="connsiteY14" fmla="*/ 2185889 h 2194111"/>
                    <a:gd name="connsiteX15" fmla="*/ 49224 w 1110328"/>
                    <a:gd name="connsiteY15" fmla="*/ 2152634 h 2194111"/>
                    <a:gd name="connsiteX16" fmla="*/ 27494 w 1110328"/>
                    <a:gd name="connsiteY16" fmla="*/ 2092280 h 2194111"/>
                    <a:gd name="connsiteX17" fmla="*/ 0 w 1110328"/>
                    <a:gd name="connsiteY17" fmla="*/ 2015538 h 2194111"/>
                    <a:gd name="connsiteX18" fmla="*/ 32808 w 1110328"/>
                    <a:gd name="connsiteY18" fmla="*/ 1927692 h 2194111"/>
                    <a:gd name="connsiteX19" fmla="*/ 109525 w 1110328"/>
                    <a:gd name="connsiteY19" fmla="*/ 1900173 h 2194111"/>
                    <a:gd name="connsiteX20" fmla="*/ 356909 w 1110328"/>
                    <a:gd name="connsiteY20" fmla="*/ 1806565 h 2194111"/>
                    <a:gd name="connsiteX21" fmla="*/ 751967 w 1110328"/>
                    <a:gd name="connsiteY21" fmla="*/ 1565206 h 2194111"/>
                    <a:gd name="connsiteX22" fmla="*/ 785220 w 1110328"/>
                    <a:gd name="connsiteY22" fmla="*/ 1031922 h 2194111"/>
                    <a:gd name="connsiteX23" fmla="*/ 214156 w 1110328"/>
                    <a:gd name="connsiteY23" fmla="*/ 1031922 h 2194111"/>
                    <a:gd name="connsiteX24" fmla="*/ 126363 w 1110328"/>
                    <a:gd name="connsiteY24" fmla="*/ 1031922 h 2194111"/>
                    <a:gd name="connsiteX25" fmla="*/ 60301 w 1110328"/>
                    <a:gd name="connsiteY25" fmla="*/ 966281 h 2194111"/>
                    <a:gd name="connsiteX26" fmla="*/ 60301 w 1110328"/>
                    <a:gd name="connsiteY26" fmla="*/ 878435 h 2194111"/>
                    <a:gd name="connsiteX27" fmla="*/ 60301 w 1110328"/>
                    <a:gd name="connsiteY27" fmla="*/ 164566 h 2194111"/>
                    <a:gd name="connsiteX28" fmla="*/ 60301 w 1110328"/>
                    <a:gd name="connsiteY28" fmla="*/ 76721 h 2194111"/>
                    <a:gd name="connsiteX29" fmla="*/ 126363 w 1110328"/>
                    <a:gd name="connsiteY29" fmla="*/ 5291 h 2194111"/>
                    <a:gd name="connsiteX30" fmla="*/ 214156 w 1110328"/>
                    <a:gd name="connsiteY30" fmla="*/ 5291 h 2194111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6221 w 1112393"/>
                    <a:gd name="connsiteY0" fmla="*/ 5291 h 2194956"/>
                    <a:gd name="connsiteX1" fmla="*/ 929617 w 1112393"/>
                    <a:gd name="connsiteY1" fmla="*/ 5291 h 2194956"/>
                    <a:gd name="connsiteX2" fmla="*/ 1017384 w 1112393"/>
                    <a:gd name="connsiteY2" fmla="*/ 5291 h 2194956"/>
                    <a:gd name="connsiteX3" fmla="*/ 1089208 w 1112393"/>
                    <a:gd name="connsiteY3" fmla="*/ 76721 h 2194956"/>
                    <a:gd name="connsiteX4" fmla="*/ 1089208 w 1112393"/>
                    <a:gd name="connsiteY4" fmla="*/ 164566 h 2194956"/>
                    <a:gd name="connsiteX5" fmla="*/ 1089208 w 1112393"/>
                    <a:gd name="connsiteY5" fmla="*/ 680565 h 2194956"/>
                    <a:gd name="connsiteX6" fmla="*/ 1089208 w 1112393"/>
                    <a:gd name="connsiteY6" fmla="*/ 702296 h 2194956"/>
                    <a:gd name="connsiteX7" fmla="*/ 1089208 w 1112393"/>
                    <a:gd name="connsiteY7" fmla="*/ 960493 h 2194956"/>
                    <a:gd name="connsiteX8" fmla="*/ 1089208 w 1112393"/>
                    <a:gd name="connsiteY8" fmla="*/ 1515535 h 2194956"/>
                    <a:gd name="connsiteX9" fmla="*/ 776208 w 1112393"/>
                    <a:gd name="connsiteY9" fmla="*/ 1960526 h 2194956"/>
                    <a:gd name="connsiteX10" fmla="*/ 221534 w 1112393"/>
                    <a:gd name="connsiteY10" fmla="*/ 2174813 h 2194956"/>
                    <a:gd name="connsiteX11" fmla="*/ 205145 w 1112393"/>
                    <a:gd name="connsiteY11" fmla="*/ 2185889 h 2194956"/>
                    <a:gd name="connsiteX12" fmla="*/ 188728 w 1112393"/>
                    <a:gd name="connsiteY12" fmla="*/ 2185889 h 2194956"/>
                    <a:gd name="connsiteX13" fmla="*/ 166548 w 1112393"/>
                    <a:gd name="connsiteY13" fmla="*/ 2185889 h 2194956"/>
                    <a:gd name="connsiteX14" fmla="*/ 106275 w 1112393"/>
                    <a:gd name="connsiteY14" fmla="*/ 2185889 h 2194956"/>
                    <a:gd name="connsiteX15" fmla="*/ 51289 w 1112393"/>
                    <a:gd name="connsiteY15" fmla="*/ 2152634 h 2194956"/>
                    <a:gd name="connsiteX16" fmla="*/ 29559 w 1112393"/>
                    <a:gd name="connsiteY16" fmla="*/ 2092280 h 2194956"/>
                    <a:gd name="connsiteX17" fmla="*/ 2065 w 1112393"/>
                    <a:gd name="connsiteY17" fmla="*/ 2015538 h 2194956"/>
                    <a:gd name="connsiteX18" fmla="*/ 34873 w 1112393"/>
                    <a:gd name="connsiteY18" fmla="*/ 1927692 h 2194956"/>
                    <a:gd name="connsiteX19" fmla="*/ 111590 w 1112393"/>
                    <a:gd name="connsiteY19" fmla="*/ 1900173 h 2194956"/>
                    <a:gd name="connsiteX20" fmla="*/ 358974 w 1112393"/>
                    <a:gd name="connsiteY20" fmla="*/ 1806565 h 2194956"/>
                    <a:gd name="connsiteX21" fmla="*/ 754032 w 1112393"/>
                    <a:gd name="connsiteY21" fmla="*/ 1565206 h 2194956"/>
                    <a:gd name="connsiteX22" fmla="*/ 787285 w 1112393"/>
                    <a:gd name="connsiteY22" fmla="*/ 1031922 h 2194956"/>
                    <a:gd name="connsiteX23" fmla="*/ 216221 w 1112393"/>
                    <a:gd name="connsiteY23" fmla="*/ 1031922 h 2194956"/>
                    <a:gd name="connsiteX24" fmla="*/ 128428 w 1112393"/>
                    <a:gd name="connsiteY24" fmla="*/ 1031922 h 2194956"/>
                    <a:gd name="connsiteX25" fmla="*/ 62366 w 1112393"/>
                    <a:gd name="connsiteY25" fmla="*/ 966281 h 2194956"/>
                    <a:gd name="connsiteX26" fmla="*/ 62366 w 1112393"/>
                    <a:gd name="connsiteY26" fmla="*/ 878435 h 2194956"/>
                    <a:gd name="connsiteX27" fmla="*/ 62366 w 1112393"/>
                    <a:gd name="connsiteY27" fmla="*/ 164566 h 2194956"/>
                    <a:gd name="connsiteX28" fmla="*/ 62366 w 1112393"/>
                    <a:gd name="connsiteY28" fmla="*/ 76721 h 2194956"/>
                    <a:gd name="connsiteX29" fmla="*/ 128428 w 1112393"/>
                    <a:gd name="connsiteY29" fmla="*/ 5291 h 2194956"/>
                    <a:gd name="connsiteX30" fmla="*/ 216221 w 1112393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9224 h 2198889"/>
                    <a:gd name="connsiteX1" fmla="*/ 927552 w 1110328"/>
                    <a:gd name="connsiteY1" fmla="*/ 9224 h 2198889"/>
                    <a:gd name="connsiteX2" fmla="*/ 1015319 w 1110328"/>
                    <a:gd name="connsiteY2" fmla="*/ 9224 h 2198889"/>
                    <a:gd name="connsiteX3" fmla="*/ 1087143 w 1110328"/>
                    <a:gd name="connsiteY3" fmla="*/ 80654 h 2198889"/>
                    <a:gd name="connsiteX4" fmla="*/ 1087143 w 1110328"/>
                    <a:gd name="connsiteY4" fmla="*/ 168499 h 2198889"/>
                    <a:gd name="connsiteX5" fmla="*/ 1087143 w 1110328"/>
                    <a:gd name="connsiteY5" fmla="*/ 684498 h 2198889"/>
                    <a:gd name="connsiteX6" fmla="*/ 1087143 w 1110328"/>
                    <a:gd name="connsiteY6" fmla="*/ 706229 h 2198889"/>
                    <a:gd name="connsiteX7" fmla="*/ 1087143 w 1110328"/>
                    <a:gd name="connsiteY7" fmla="*/ 964426 h 2198889"/>
                    <a:gd name="connsiteX8" fmla="*/ 1087143 w 1110328"/>
                    <a:gd name="connsiteY8" fmla="*/ 1519468 h 2198889"/>
                    <a:gd name="connsiteX9" fmla="*/ 774143 w 1110328"/>
                    <a:gd name="connsiteY9" fmla="*/ 1964459 h 2198889"/>
                    <a:gd name="connsiteX10" fmla="*/ 219469 w 1110328"/>
                    <a:gd name="connsiteY10" fmla="*/ 2178746 h 2198889"/>
                    <a:gd name="connsiteX11" fmla="*/ 203080 w 1110328"/>
                    <a:gd name="connsiteY11" fmla="*/ 2189822 h 2198889"/>
                    <a:gd name="connsiteX12" fmla="*/ 186663 w 1110328"/>
                    <a:gd name="connsiteY12" fmla="*/ 2189822 h 2198889"/>
                    <a:gd name="connsiteX13" fmla="*/ 164483 w 1110328"/>
                    <a:gd name="connsiteY13" fmla="*/ 2189822 h 2198889"/>
                    <a:gd name="connsiteX14" fmla="*/ 104210 w 1110328"/>
                    <a:gd name="connsiteY14" fmla="*/ 2189822 h 2198889"/>
                    <a:gd name="connsiteX15" fmla="*/ 49224 w 1110328"/>
                    <a:gd name="connsiteY15" fmla="*/ 2156567 h 2198889"/>
                    <a:gd name="connsiteX16" fmla="*/ 27494 w 1110328"/>
                    <a:gd name="connsiteY16" fmla="*/ 2096213 h 2198889"/>
                    <a:gd name="connsiteX17" fmla="*/ 0 w 1110328"/>
                    <a:gd name="connsiteY17" fmla="*/ 2019471 h 2198889"/>
                    <a:gd name="connsiteX18" fmla="*/ 32808 w 1110328"/>
                    <a:gd name="connsiteY18" fmla="*/ 1931625 h 2198889"/>
                    <a:gd name="connsiteX19" fmla="*/ 109525 w 1110328"/>
                    <a:gd name="connsiteY19" fmla="*/ 1904106 h 2198889"/>
                    <a:gd name="connsiteX20" fmla="*/ 356909 w 1110328"/>
                    <a:gd name="connsiteY20" fmla="*/ 1810498 h 2198889"/>
                    <a:gd name="connsiteX21" fmla="*/ 751967 w 1110328"/>
                    <a:gd name="connsiteY21" fmla="*/ 1569139 h 2198889"/>
                    <a:gd name="connsiteX22" fmla="*/ 785220 w 1110328"/>
                    <a:gd name="connsiteY22" fmla="*/ 1035855 h 2198889"/>
                    <a:gd name="connsiteX23" fmla="*/ 214156 w 1110328"/>
                    <a:gd name="connsiteY23" fmla="*/ 1035855 h 2198889"/>
                    <a:gd name="connsiteX24" fmla="*/ 126363 w 1110328"/>
                    <a:gd name="connsiteY24" fmla="*/ 1035855 h 2198889"/>
                    <a:gd name="connsiteX25" fmla="*/ 60301 w 1110328"/>
                    <a:gd name="connsiteY25" fmla="*/ 970214 h 2198889"/>
                    <a:gd name="connsiteX26" fmla="*/ 60301 w 1110328"/>
                    <a:gd name="connsiteY26" fmla="*/ 882368 h 2198889"/>
                    <a:gd name="connsiteX27" fmla="*/ 60301 w 1110328"/>
                    <a:gd name="connsiteY27" fmla="*/ 168499 h 2198889"/>
                    <a:gd name="connsiteX28" fmla="*/ 60301 w 1110328"/>
                    <a:gd name="connsiteY28" fmla="*/ 80654 h 2198889"/>
                    <a:gd name="connsiteX29" fmla="*/ 126363 w 1110328"/>
                    <a:gd name="connsiteY29" fmla="*/ 9224 h 2198889"/>
                    <a:gd name="connsiteX30" fmla="*/ 214156 w 1110328"/>
                    <a:gd name="connsiteY30" fmla="*/ 9224 h 2198889"/>
                    <a:gd name="connsiteX0" fmla="*/ 214156 w 1110328"/>
                    <a:gd name="connsiteY0" fmla="*/ 5292 h 2194957"/>
                    <a:gd name="connsiteX1" fmla="*/ 927552 w 1110328"/>
                    <a:gd name="connsiteY1" fmla="*/ 5292 h 2194957"/>
                    <a:gd name="connsiteX2" fmla="*/ 1015319 w 1110328"/>
                    <a:gd name="connsiteY2" fmla="*/ 5292 h 2194957"/>
                    <a:gd name="connsiteX3" fmla="*/ 1087143 w 1110328"/>
                    <a:gd name="connsiteY3" fmla="*/ 76722 h 2194957"/>
                    <a:gd name="connsiteX4" fmla="*/ 1087143 w 1110328"/>
                    <a:gd name="connsiteY4" fmla="*/ 164567 h 2194957"/>
                    <a:gd name="connsiteX5" fmla="*/ 1087143 w 1110328"/>
                    <a:gd name="connsiteY5" fmla="*/ 680566 h 2194957"/>
                    <a:gd name="connsiteX6" fmla="*/ 1087143 w 1110328"/>
                    <a:gd name="connsiteY6" fmla="*/ 702297 h 2194957"/>
                    <a:gd name="connsiteX7" fmla="*/ 1087143 w 1110328"/>
                    <a:gd name="connsiteY7" fmla="*/ 960494 h 2194957"/>
                    <a:gd name="connsiteX8" fmla="*/ 1087143 w 1110328"/>
                    <a:gd name="connsiteY8" fmla="*/ 1515536 h 2194957"/>
                    <a:gd name="connsiteX9" fmla="*/ 774143 w 1110328"/>
                    <a:gd name="connsiteY9" fmla="*/ 1960527 h 2194957"/>
                    <a:gd name="connsiteX10" fmla="*/ 219469 w 1110328"/>
                    <a:gd name="connsiteY10" fmla="*/ 2174814 h 2194957"/>
                    <a:gd name="connsiteX11" fmla="*/ 203080 w 1110328"/>
                    <a:gd name="connsiteY11" fmla="*/ 2185890 h 2194957"/>
                    <a:gd name="connsiteX12" fmla="*/ 186663 w 1110328"/>
                    <a:gd name="connsiteY12" fmla="*/ 2185890 h 2194957"/>
                    <a:gd name="connsiteX13" fmla="*/ 164483 w 1110328"/>
                    <a:gd name="connsiteY13" fmla="*/ 2185890 h 2194957"/>
                    <a:gd name="connsiteX14" fmla="*/ 104210 w 1110328"/>
                    <a:gd name="connsiteY14" fmla="*/ 2185890 h 2194957"/>
                    <a:gd name="connsiteX15" fmla="*/ 49224 w 1110328"/>
                    <a:gd name="connsiteY15" fmla="*/ 2152635 h 2194957"/>
                    <a:gd name="connsiteX16" fmla="*/ 27494 w 1110328"/>
                    <a:gd name="connsiteY16" fmla="*/ 2092281 h 2194957"/>
                    <a:gd name="connsiteX17" fmla="*/ 0 w 1110328"/>
                    <a:gd name="connsiteY17" fmla="*/ 2015539 h 2194957"/>
                    <a:gd name="connsiteX18" fmla="*/ 32808 w 1110328"/>
                    <a:gd name="connsiteY18" fmla="*/ 1927693 h 2194957"/>
                    <a:gd name="connsiteX19" fmla="*/ 109525 w 1110328"/>
                    <a:gd name="connsiteY19" fmla="*/ 1900174 h 2194957"/>
                    <a:gd name="connsiteX20" fmla="*/ 356909 w 1110328"/>
                    <a:gd name="connsiteY20" fmla="*/ 1806566 h 2194957"/>
                    <a:gd name="connsiteX21" fmla="*/ 751967 w 1110328"/>
                    <a:gd name="connsiteY21" fmla="*/ 1565207 h 2194957"/>
                    <a:gd name="connsiteX22" fmla="*/ 785220 w 1110328"/>
                    <a:gd name="connsiteY22" fmla="*/ 1031923 h 2194957"/>
                    <a:gd name="connsiteX23" fmla="*/ 214156 w 1110328"/>
                    <a:gd name="connsiteY23" fmla="*/ 1031923 h 2194957"/>
                    <a:gd name="connsiteX24" fmla="*/ 126363 w 1110328"/>
                    <a:gd name="connsiteY24" fmla="*/ 1031923 h 2194957"/>
                    <a:gd name="connsiteX25" fmla="*/ 60301 w 1110328"/>
                    <a:gd name="connsiteY25" fmla="*/ 966282 h 2194957"/>
                    <a:gd name="connsiteX26" fmla="*/ 60301 w 1110328"/>
                    <a:gd name="connsiteY26" fmla="*/ 878436 h 2194957"/>
                    <a:gd name="connsiteX27" fmla="*/ 60301 w 1110328"/>
                    <a:gd name="connsiteY27" fmla="*/ 164567 h 2194957"/>
                    <a:gd name="connsiteX28" fmla="*/ 60301 w 1110328"/>
                    <a:gd name="connsiteY28" fmla="*/ 76722 h 2194957"/>
                    <a:gd name="connsiteX29" fmla="*/ 126363 w 1110328"/>
                    <a:gd name="connsiteY29" fmla="*/ 5292 h 2194957"/>
                    <a:gd name="connsiteX30" fmla="*/ 214156 w 1110328"/>
                    <a:gd name="connsiteY30" fmla="*/ 5292 h 2194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1110328" h="2194957">
                      <a:moveTo>
                        <a:pt x="214156" y="5292"/>
                      </a:moveTo>
                      <a:lnTo>
                        <a:pt x="927552" y="5292"/>
                      </a:lnTo>
                      <a:cubicBezTo>
                        <a:pt x="1061079" y="5292"/>
                        <a:pt x="988721" y="-6613"/>
                        <a:pt x="1015319" y="5292"/>
                      </a:cubicBezTo>
                      <a:cubicBezTo>
                        <a:pt x="1041917" y="17197"/>
                        <a:pt x="1087143" y="47602"/>
                        <a:pt x="1087143" y="76722"/>
                      </a:cubicBezTo>
                      <a:lnTo>
                        <a:pt x="1087143" y="164567"/>
                      </a:lnTo>
                      <a:lnTo>
                        <a:pt x="1087143" y="680566"/>
                      </a:lnTo>
                      <a:lnTo>
                        <a:pt x="1087143" y="702297"/>
                      </a:lnTo>
                      <a:lnTo>
                        <a:pt x="1087143" y="960494"/>
                      </a:lnTo>
                      <a:cubicBezTo>
                        <a:pt x="1087143" y="1096034"/>
                        <a:pt x="1139310" y="1348864"/>
                        <a:pt x="1087143" y="1515536"/>
                      </a:cubicBezTo>
                      <a:cubicBezTo>
                        <a:pt x="1034976" y="1682208"/>
                        <a:pt x="943561" y="1895076"/>
                        <a:pt x="774143" y="1960527"/>
                      </a:cubicBezTo>
                      <a:lnTo>
                        <a:pt x="219469" y="2174814"/>
                      </a:lnTo>
                      <a:cubicBezTo>
                        <a:pt x="124292" y="2212375"/>
                        <a:pt x="208851" y="2185890"/>
                        <a:pt x="203080" y="2185890"/>
                      </a:cubicBezTo>
                      <a:lnTo>
                        <a:pt x="186663" y="2185890"/>
                      </a:lnTo>
                      <a:lnTo>
                        <a:pt x="164483" y="2185890"/>
                      </a:lnTo>
                      <a:cubicBezTo>
                        <a:pt x="150741" y="2185890"/>
                        <a:pt x="121318" y="2196237"/>
                        <a:pt x="104210" y="2185890"/>
                      </a:cubicBezTo>
                      <a:lnTo>
                        <a:pt x="49224" y="2152635"/>
                      </a:lnTo>
                      <a:cubicBezTo>
                        <a:pt x="36438" y="2137034"/>
                        <a:pt x="35682" y="2115136"/>
                        <a:pt x="27494" y="2092281"/>
                      </a:cubicBezTo>
                      <a:lnTo>
                        <a:pt x="0" y="2015539"/>
                      </a:lnTo>
                      <a:cubicBezTo>
                        <a:pt x="886" y="1988108"/>
                        <a:pt x="7853" y="1936645"/>
                        <a:pt x="32808" y="1927693"/>
                      </a:cubicBezTo>
                      <a:lnTo>
                        <a:pt x="109525" y="1900174"/>
                      </a:lnTo>
                      <a:cubicBezTo>
                        <a:pt x="163542" y="1879986"/>
                        <a:pt x="253864" y="1869521"/>
                        <a:pt x="356909" y="1806566"/>
                      </a:cubicBezTo>
                      <a:lnTo>
                        <a:pt x="751967" y="1565207"/>
                      </a:lnTo>
                      <a:cubicBezTo>
                        <a:pt x="823352" y="1436100"/>
                        <a:pt x="911451" y="1031923"/>
                        <a:pt x="785220" y="1031923"/>
                      </a:cubicBezTo>
                      <a:lnTo>
                        <a:pt x="214156" y="1031923"/>
                      </a:lnTo>
                      <a:cubicBezTo>
                        <a:pt x="104347" y="1031923"/>
                        <a:pt x="152006" y="1042863"/>
                        <a:pt x="126363" y="1031923"/>
                      </a:cubicBezTo>
                      <a:cubicBezTo>
                        <a:pt x="100721" y="1020983"/>
                        <a:pt x="60301" y="994132"/>
                        <a:pt x="60301" y="966282"/>
                      </a:cubicBezTo>
                      <a:lnTo>
                        <a:pt x="60301" y="878436"/>
                      </a:lnTo>
                      <a:lnTo>
                        <a:pt x="60301" y="164567"/>
                      </a:lnTo>
                      <a:cubicBezTo>
                        <a:pt x="60301" y="30948"/>
                        <a:pt x="40788" y="97820"/>
                        <a:pt x="60301" y="76722"/>
                      </a:cubicBezTo>
                      <a:lnTo>
                        <a:pt x="126363" y="5292"/>
                      </a:lnTo>
                      <a:cubicBezTo>
                        <a:pt x="152005" y="-6613"/>
                        <a:pt x="80625" y="5292"/>
                        <a:pt x="214156" y="5292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 w="6350" cap="sq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400"/>
                    </a:spcBef>
                    <a:spcAft>
                      <a:spcPts val="400"/>
                    </a:spcAft>
                  </a:pPr>
                  <a:endParaRPr lang="en-US" sz="2133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256" name="Group 255">
                <a:extLst>
                  <a:ext uri="{FF2B5EF4-FFF2-40B4-BE49-F238E27FC236}">
                    <a16:creationId xmlns:a16="http://schemas.microsoft.com/office/drawing/2014/main" id="{A2065E93-A612-4DE5-B827-7F9948BCDCC6}"/>
                  </a:ext>
                </a:extLst>
              </p:cNvPr>
              <p:cNvGrpSpPr/>
              <p:nvPr/>
            </p:nvGrpSpPr>
            <p:grpSpPr>
              <a:xfrm rot="10800000">
                <a:off x="1018198" y="1915826"/>
                <a:ext cx="2474656" cy="2194957"/>
                <a:chOff x="8918818" y="4018207"/>
                <a:chExt cx="2474656" cy="2194957"/>
              </a:xfrm>
            </p:grpSpPr>
            <p:sp>
              <p:nvSpPr>
                <p:cNvPr id="257" name="Freeform: Shape 256">
                  <a:extLst>
                    <a:ext uri="{FF2B5EF4-FFF2-40B4-BE49-F238E27FC236}">
                      <a16:creationId xmlns:a16="http://schemas.microsoft.com/office/drawing/2014/main" id="{57A060C0-3F06-4B8F-B21D-93223E6B678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918818" y="4018207"/>
                  <a:ext cx="1110328" cy="2194957"/>
                </a:xfrm>
                <a:custGeom>
                  <a:avLst/>
                  <a:gdLst>
                    <a:gd name="connsiteX0" fmla="*/ 214156 w 1087143"/>
                    <a:gd name="connsiteY0" fmla="*/ 0 h 2180598"/>
                    <a:gd name="connsiteX1" fmla="*/ 927552 w 1087143"/>
                    <a:gd name="connsiteY1" fmla="*/ 0 h 2180598"/>
                    <a:gd name="connsiteX2" fmla="*/ 1015319 w 1087143"/>
                    <a:gd name="connsiteY2" fmla="*/ 0 h 2180598"/>
                    <a:gd name="connsiteX3" fmla="*/ 1087143 w 1087143"/>
                    <a:gd name="connsiteY3" fmla="*/ 71430 h 2180598"/>
                    <a:gd name="connsiteX4" fmla="*/ 1087143 w 1087143"/>
                    <a:gd name="connsiteY4" fmla="*/ 159275 h 2180598"/>
                    <a:gd name="connsiteX5" fmla="*/ 1087143 w 1087143"/>
                    <a:gd name="connsiteY5" fmla="*/ 675274 h 2180598"/>
                    <a:gd name="connsiteX6" fmla="*/ 1087143 w 1087143"/>
                    <a:gd name="connsiteY6" fmla="*/ 697005 h 2180598"/>
                    <a:gd name="connsiteX7" fmla="*/ 1087143 w 1087143"/>
                    <a:gd name="connsiteY7" fmla="*/ 955202 h 2180598"/>
                    <a:gd name="connsiteX8" fmla="*/ 1087143 w 1087143"/>
                    <a:gd name="connsiteY8" fmla="*/ 1510244 h 2180598"/>
                    <a:gd name="connsiteX9" fmla="*/ 774143 w 1087143"/>
                    <a:gd name="connsiteY9" fmla="*/ 1955235 h 2180598"/>
                    <a:gd name="connsiteX10" fmla="*/ 219469 w 1087143"/>
                    <a:gd name="connsiteY10" fmla="*/ 2169522 h 2180598"/>
                    <a:gd name="connsiteX11" fmla="*/ 203080 w 1087143"/>
                    <a:gd name="connsiteY11" fmla="*/ 2180598 h 2180598"/>
                    <a:gd name="connsiteX12" fmla="*/ 186663 w 1087143"/>
                    <a:gd name="connsiteY12" fmla="*/ 2180598 h 2180598"/>
                    <a:gd name="connsiteX13" fmla="*/ 164483 w 1087143"/>
                    <a:gd name="connsiteY13" fmla="*/ 2180598 h 2180598"/>
                    <a:gd name="connsiteX14" fmla="*/ 104210 w 1087143"/>
                    <a:gd name="connsiteY14" fmla="*/ 2180598 h 2180598"/>
                    <a:gd name="connsiteX15" fmla="*/ 49224 w 1087143"/>
                    <a:gd name="connsiteY15" fmla="*/ 2147343 h 2180598"/>
                    <a:gd name="connsiteX16" fmla="*/ 27494 w 1087143"/>
                    <a:gd name="connsiteY16" fmla="*/ 2086989 h 2180598"/>
                    <a:gd name="connsiteX17" fmla="*/ 0 w 1087143"/>
                    <a:gd name="connsiteY17" fmla="*/ 2010247 h 2180598"/>
                    <a:gd name="connsiteX18" fmla="*/ 32808 w 1087143"/>
                    <a:gd name="connsiteY18" fmla="*/ 1922401 h 2180598"/>
                    <a:gd name="connsiteX19" fmla="*/ 109525 w 1087143"/>
                    <a:gd name="connsiteY19" fmla="*/ 1894882 h 2180598"/>
                    <a:gd name="connsiteX20" fmla="*/ 356909 w 1087143"/>
                    <a:gd name="connsiteY20" fmla="*/ 1801274 h 2180598"/>
                    <a:gd name="connsiteX21" fmla="*/ 751967 w 1087143"/>
                    <a:gd name="connsiteY21" fmla="*/ 1559915 h 2180598"/>
                    <a:gd name="connsiteX22" fmla="*/ 785220 w 1087143"/>
                    <a:gd name="connsiteY22" fmla="*/ 1026631 h 2180598"/>
                    <a:gd name="connsiteX23" fmla="*/ 214156 w 1087143"/>
                    <a:gd name="connsiteY23" fmla="*/ 1026631 h 2180598"/>
                    <a:gd name="connsiteX24" fmla="*/ 126363 w 1087143"/>
                    <a:gd name="connsiteY24" fmla="*/ 1026631 h 2180598"/>
                    <a:gd name="connsiteX25" fmla="*/ 60301 w 1087143"/>
                    <a:gd name="connsiteY25" fmla="*/ 960990 h 2180598"/>
                    <a:gd name="connsiteX26" fmla="*/ 60301 w 1087143"/>
                    <a:gd name="connsiteY26" fmla="*/ 873144 h 2180598"/>
                    <a:gd name="connsiteX27" fmla="*/ 60301 w 1087143"/>
                    <a:gd name="connsiteY27" fmla="*/ 159275 h 2180598"/>
                    <a:gd name="connsiteX28" fmla="*/ 60301 w 1087143"/>
                    <a:gd name="connsiteY28" fmla="*/ 71430 h 2180598"/>
                    <a:gd name="connsiteX29" fmla="*/ 126363 w 1087143"/>
                    <a:gd name="connsiteY29" fmla="*/ 0 h 2180598"/>
                    <a:gd name="connsiteX30" fmla="*/ 214156 w 1087143"/>
                    <a:gd name="connsiteY30" fmla="*/ 0 h 2180598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110328"/>
                    <a:gd name="connsiteY0" fmla="*/ 5291 h 2185889"/>
                    <a:gd name="connsiteX1" fmla="*/ 927552 w 1110328"/>
                    <a:gd name="connsiteY1" fmla="*/ 5291 h 2185889"/>
                    <a:gd name="connsiteX2" fmla="*/ 1015319 w 1110328"/>
                    <a:gd name="connsiteY2" fmla="*/ 5291 h 2185889"/>
                    <a:gd name="connsiteX3" fmla="*/ 1087143 w 1110328"/>
                    <a:gd name="connsiteY3" fmla="*/ 76721 h 2185889"/>
                    <a:gd name="connsiteX4" fmla="*/ 1087143 w 1110328"/>
                    <a:gd name="connsiteY4" fmla="*/ 164566 h 2185889"/>
                    <a:gd name="connsiteX5" fmla="*/ 1087143 w 1110328"/>
                    <a:gd name="connsiteY5" fmla="*/ 680565 h 2185889"/>
                    <a:gd name="connsiteX6" fmla="*/ 1087143 w 1110328"/>
                    <a:gd name="connsiteY6" fmla="*/ 702296 h 2185889"/>
                    <a:gd name="connsiteX7" fmla="*/ 1087143 w 1110328"/>
                    <a:gd name="connsiteY7" fmla="*/ 960493 h 2185889"/>
                    <a:gd name="connsiteX8" fmla="*/ 1087143 w 1110328"/>
                    <a:gd name="connsiteY8" fmla="*/ 1515535 h 2185889"/>
                    <a:gd name="connsiteX9" fmla="*/ 774143 w 1110328"/>
                    <a:gd name="connsiteY9" fmla="*/ 1960526 h 2185889"/>
                    <a:gd name="connsiteX10" fmla="*/ 219469 w 1110328"/>
                    <a:gd name="connsiteY10" fmla="*/ 2174813 h 2185889"/>
                    <a:gd name="connsiteX11" fmla="*/ 203080 w 1110328"/>
                    <a:gd name="connsiteY11" fmla="*/ 2185889 h 2185889"/>
                    <a:gd name="connsiteX12" fmla="*/ 186663 w 1110328"/>
                    <a:gd name="connsiteY12" fmla="*/ 2185889 h 2185889"/>
                    <a:gd name="connsiteX13" fmla="*/ 164483 w 1110328"/>
                    <a:gd name="connsiteY13" fmla="*/ 2185889 h 2185889"/>
                    <a:gd name="connsiteX14" fmla="*/ 104210 w 1110328"/>
                    <a:gd name="connsiteY14" fmla="*/ 2185889 h 2185889"/>
                    <a:gd name="connsiteX15" fmla="*/ 49224 w 1110328"/>
                    <a:gd name="connsiteY15" fmla="*/ 2152634 h 2185889"/>
                    <a:gd name="connsiteX16" fmla="*/ 27494 w 1110328"/>
                    <a:gd name="connsiteY16" fmla="*/ 2092280 h 2185889"/>
                    <a:gd name="connsiteX17" fmla="*/ 0 w 1110328"/>
                    <a:gd name="connsiteY17" fmla="*/ 2015538 h 2185889"/>
                    <a:gd name="connsiteX18" fmla="*/ 32808 w 1110328"/>
                    <a:gd name="connsiteY18" fmla="*/ 1927692 h 2185889"/>
                    <a:gd name="connsiteX19" fmla="*/ 109525 w 1110328"/>
                    <a:gd name="connsiteY19" fmla="*/ 1900173 h 2185889"/>
                    <a:gd name="connsiteX20" fmla="*/ 356909 w 1110328"/>
                    <a:gd name="connsiteY20" fmla="*/ 1806565 h 2185889"/>
                    <a:gd name="connsiteX21" fmla="*/ 751967 w 1110328"/>
                    <a:gd name="connsiteY21" fmla="*/ 1565206 h 2185889"/>
                    <a:gd name="connsiteX22" fmla="*/ 785220 w 1110328"/>
                    <a:gd name="connsiteY22" fmla="*/ 1031922 h 2185889"/>
                    <a:gd name="connsiteX23" fmla="*/ 214156 w 1110328"/>
                    <a:gd name="connsiteY23" fmla="*/ 1031922 h 2185889"/>
                    <a:gd name="connsiteX24" fmla="*/ 126363 w 1110328"/>
                    <a:gd name="connsiteY24" fmla="*/ 1031922 h 2185889"/>
                    <a:gd name="connsiteX25" fmla="*/ 60301 w 1110328"/>
                    <a:gd name="connsiteY25" fmla="*/ 966281 h 2185889"/>
                    <a:gd name="connsiteX26" fmla="*/ 60301 w 1110328"/>
                    <a:gd name="connsiteY26" fmla="*/ 878435 h 2185889"/>
                    <a:gd name="connsiteX27" fmla="*/ 60301 w 1110328"/>
                    <a:gd name="connsiteY27" fmla="*/ 164566 h 2185889"/>
                    <a:gd name="connsiteX28" fmla="*/ 60301 w 1110328"/>
                    <a:gd name="connsiteY28" fmla="*/ 76721 h 2185889"/>
                    <a:gd name="connsiteX29" fmla="*/ 126363 w 1110328"/>
                    <a:gd name="connsiteY29" fmla="*/ 5291 h 2185889"/>
                    <a:gd name="connsiteX30" fmla="*/ 214156 w 1110328"/>
                    <a:gd name="connsiteY30" fmla="*/ 5291 h 2185889"/>
                    <a:gd name="connsiteX0" fmla="*/ 214156 w 1110328"/>
                    <a:gd name="connsiteY0" fmla="*/ 5291 h 2185889"/>
                    <a:gd name="connsiteX1" fmla="*/ 927552 w 1110328"/>
                    <a:gd name="connsiteY1" fmla="*/ 5291 h 2185889"/>
                    <a:gd name="connsiteX2" fmla="*/ 1015319 w 1110328"/>
                    <a:gd name="connsiteY2" fmla="*/ 5291 h 2185889"/>
                    <a:gd name="connsiteX3" fmla="*/ 1087143 w 1110328"/>
                    <a:gd name="connsiteY3" fmla="*/ 76721 h 2185889"/>
                    <a:gd name="connsiteX4" fmla="*/ 1087143 w 1110328"/>
                    <a:gd name="connsiteY4" fmla="*/ 164566 h 2185889"/>
                    <a:gd name="connsiteX5" fmla="*/ 1087143 w 1110328"/>
                    <a:gd name="connsiteY5" fmla="*/ 680565 h 2185889"/>
                    <a:gd name="connsiteX6" fmla="*/ 1087143 w 1110328"/>
                    <a:gd name="connsiteY6" fmla="*/ 702296 h 2185889"/>
                    <a:gd name="connsiteX7" fmla="*/ 1087143 w 1110328"/>
                    <a:gd name="connsiteY7" fmla="*/ 960493 h 2185889"/>
                    <a:gd name="connsiteX8" fmla="*/ 1087143 w 1110328"/>
                    <a:gd name="connsiteY8" fmla="*/ 1515535 h 2185889"/>
                    <a:gd name="connsiteX9" fmla="*/ 774143 w 1110328"/>
                    <a:gd name="connsiteY9" fmla="*/ 1960526 h 2185889"/>
                    <a:gd name="connsiteX10" fmla="*/ 219469 w 1110328"/>
                    <a:gd name="connsiteY10" fmla="*/ 2174813 h 2185889"/>
                    <a:gd name="connsiteX11" fmla="*/ 203080 w 1110328"/>
                    <a:gd name="connsiteY11" fmla="*/ 2185889 h 2185889"/>
                    <a:gd name="connsiteX12" fmla="*/ 186663 w 1110328"/>
                    <a:gd name="connsiteY12" fmla="*/ 2185889 h 2185889"/>
                    <a:gd name="connsiteX13" fmla="*/ 164483 w 1110328"/>
                    <a:gd name="connsiteY13" fmla="*/ 2185889 h 2185889"/>
                    <a:gd name="connsiteX14" fmla="*/ 104210 w 1110328"/>
                    <a:gd name="connsiteY14" fmla="*/ 2185889 h 2185889"/>
                    <a:gd name="connsiteX15" fmla="*/ 49224 w 1110328"/>
                    <a:gd name="connsiteY15" fmla="*/ 2152634 h 2185889"/>
                    <a:gd name="connsiteX16" fmla="*/ 27494 w 1110328"/>
                    <a:gd name="connsiteY16" fmla="*/ 2092280 h 2185889"/>
                    <a:gd name="connsiteX17" fmla="*/ 0 w 1110328"/>
                    <a:gd name="connsiteY17" fmla="*/ 2015538 h 2185889"/>
                    <a:gd name="connsiteX18" fmla="*/ 32808 w 1110328"/>
                    <a:gd name="connsiteY18" fmla="*/ 1927692 h 2185889"/>
                    <a:gd name="connsiteX19" fmla="*/ 109525 w 1110328"/>
                    <a:gd name="connsiteY19" fmla="*/ 1900173 h 2185889"/>
                    <a:gd name="connsiteX20" fmla="*/ 356909 w 1110328"/>
                    <a:gd name="connsiteY20" fmla="*/ 1806565 h 2185889"/>
                    <a:gd name="connsiteX21" fmla="*/ 751967 w 1110328"/>
                    <a:gd name="connsiteY21" fmla="*/ 1565206 h 2185889"/>
                    <a:gd name="connsiteX22" fmla="*/ 785220 w 1110328"/>
                    <a:gd name="connsiteY22" fmla="*/ 1031922 h 2185889"/>
                    <a:gd name="connsiteX23" fmla="*/ 214156 w 1110328"/>
                    <a:gd name="connsiteY23" fmla="*/ 1031922 h 2185889"/>
                    <a:gd name="connsiteX24" fmla="*/ 126363 w 1110328"/>
                    <a:gd name="connsiteY24" fmla="*/ 1031922 h 2185889"/>
                    <a:gd name="connsiteX25" fmla="*/ 60301 w 1110328"/>
                    <a:gd name="connsiteY25" fmla="*/ 966281 h 2185889"/>
                    <a:gd name="connsiteX26" fmla="*/ 60301 w 1110328"/>
                    <a:gd name="connsiteY26" fmla="*/ 878435 h 2185889"/>
                    <a:gd name="connsiteX27" fmla="*/ 60301 w 1110328"/>
                    <a:gd name="connsiteY27" fmla="*/ 164566 h 2185889"/>
                    <a:gd name="connsiteX28" fmla="*/ 60301 w 1110328"/>
                    <a:gd name="connsiteY28" fmla="*/ 76721 h 2185889"/>
                    <a:gd name="connsiteX29" fmla="*/ 126363 w 1110328"/>
                    <a:gd name="connsiteY29" fmla="*/ 5291 h 2185889"/>
                    <a:gd name="connsiteX30" fmla="*/ 214156 w 1110328"/>
                    <a:gd name="connsiteY30" fmla="*/ 5291 h 2185889"/>
                    <a:gd name="connsiteX0" fmla="*/ 214156 w 1110328"/>
                    <a:gd name="connsiteY0" fmla="*/ 5291 h 2194111"/>
                    <a:gd name="connsiteX1" fmla="*/ 927552 w 1110328"/>
                    <a:gd name="connsiteY1" fmla="*/ 5291 h 2194111"/>
                    <a:gd name="connsiteX2" fmla="*/ 1015319 w 1110328"/>
                    <a:gd name="connsiteY2" fmla="*/ 5291 h 2194111"/>
                    <a:gd name="connsiteX3" fmla="*/ 1087143 w 1110328"/>
                    <a:gd name="connsiteY3" fmla="*/ 76721 h 2194111"/>
                    <a:gd name="connsiteX4" fmla="*/ 1087143 w 1110328"/>
                    <a:gd name="connsiteY4" fmla="*/ 164566 h 2194111"/>
                    <a:gd name="connsiteX5" fmla="*/ 1087143 w 1110328"/>
                    <a:gd name="connsiteY5" fmla="*/ 680565 h 2194111"/>
                    <a:gd name="connsiteX6" fmla="*/ 1087143 w 1110328"/>
                    <a:gd name="connsiteY6" fmla="*/ 702296 h 2194111"/>
                    <a:gd name="connsiteX7" fmla="*/ 1087143 w 1110328"/>
                    <a:gd name="connsiteY7" fmla="*/ 960493 h 2194111"/>
                    <a:gd name="connsiteX8" fmla="*/ 1087143 w 1110328"/>
                    <a:gd name="connsiteY8" fmla="*/ 1515535 h 2194111"/>
                    <a:gd name="connsiteX9" fmla="*/ 774143 w 1110328"/>
                    <a:gd name="connsiteY9" fmla="*/ 1960526 h 2194111"/>
                    <a:gd name="connsiteX10" fmla="*/ 219469 w 1110328"/>
                    <a:gd name="connsiteY10" fmla="*/ 2174813 h 2194111"/>
                    <a:gd name="connsiteX11" fmla="*/ 203080 w 1110328"/>
                    <a:gd name="connsiteY11" fmla="*/ 2185889 h 2194111"/>
                    <a:gd name="connsiteX12" fmla="*/ 186663 w 1110328"/>
                    <a:gd name="connsiteY12" fmla="*/ 2185889 h 2194111"/>
                    <a:gd name="connsiteX13" fmla="*/ 164483 w 1110328"/>
                    <a:gd name="connsiteY13" fmla="*/ 2185889 h 2194111"/>
                    <a:gd name="connsiteX14" fmla="*/ 104210 w 1110328"/>
                    <a:gd name="connsiteY14" fmla="*/ 2185889 h 2194111"/>
                    <a:gd name="connsiteX15" fmla="*/ 49224 w 1110328"/>
                    <a:gd name="connsiteY15" fmla="*/ 2152634 h 2194111"/>
                    <a:gd name="connsiteX16" fmla="*/ 27494 w 1110328"/>
                    <a:gd name="connsiteY16" fmla="*/ 2092280 h 2194111"/>
                    <a:gd name="connsiteX17" fmla="*/ 0 w 1110328"/>
                    <a:gd name="connsiteY17" fmla="*/ 2015538 h 2194111"/>
                    <a:gd name="connsiteX18" fmla="*/ 32808 w 1110328"/>
                    <a:gd name="connsiteY18" fmla="*/ 1927692 h 2194111"/>
                    <a:gd name="connsiteX19" fmla="*/ 109525 w 1110328"/>
                    <a:gd name="connsiteY19" fmla="*/ 1900173 h 2194111"/>
                    <a:gd name="connsiteX20" fmla="*/ 356909 w 1110328"/>
                    <a:gd name="connsiteY20" fmla="*/ 1806565 h 2194111"/>
                    <a:gd name="connsiteX21" fmla="*/ 751967 w 1110328"/>
                    <a:gd name="connsiteY21" fmla="*/ 1565206 h 2194111"/>
                    <a:gd name="connsiteX22" fmla="*/ 785220 w 1110328"/>
                    <a:gd name="connsiteY22" fmla="*/ 1031922 h 2194111"/>
                    <a:gd name="connsiteX23" fmla="*/ 214156 w 1110328"/>
                    <a:gd name="connsiteY23" fmla="*/ 1031922 h 2194111"/>
                    <a:gd name="connsiteX24" fmla="*/ 126363 w 1110328"/>
                    <a:gd name="connsiteY24" fmla="*/ 1031922 h 2194111"/>
                    <a:gd name="connsiteX25" fmla="*/ 60301 w 1110328"/>
                    <a:gd name="connsiteY25" fmla="*/ 966281 h 2194111"/>
                    <a:gd name="connsiteX26" fmla="*/ 60301 w 1110328"/>
                    <a:gd name="connsiteY26" fmla="*/ 878435 h 2194111"/>
                    <a:gd name="connsiteX27" fmla="*/ 60301 w 1110328"/>
                    <a:gd name="connsiteY27" fmla="*/ 164566 h 2194111"/>
                    <a:gd name="connsiteX28" fmla="*/ 60301 w 1110328"/>
                    <a:gd name="connsiteY28" fmla="*/ 76721 h 2194111"/>
                    <a:gd name="connsiteX29" fmla="*/ 126363 w 1110328"/>
                    <a:gd name="connsiteY29" fmla="*/ 5291 h 2194111"/>
                    <a:gd name="connsiteX30" fmla="*/ 214156 w 1110328"/>
                    <a:gd name="connsiteY30" fmla="*/ 5291 h 2194111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6221 w 1112393"/>
                    <a:gd name="connsiteY0" fmla="*/ 5291 h 2194956"/>
                    <a:gd name="connsiteX1" fmla="*/ 929617 w 1112393"/>
                    <a:gd name="connsiteY1" fmla="*/ 5291 h 2194956"/>
                    <a:gd name="connsiteX2" fmla="*/ 1017384 w 1112393"/>
                    <a:gd name="connsiteY2" fmla="*/ 5291 h 2194956"/>
                    <a:gd name="connsiteX3" fmla="*/ 1089208 w 1112393"/>
                    <a:gd name="connsiteY3" fmla="*/ 76721 h 2194956"/>
                    <a:gd name="connsiteX4" fmla="*/ 1089208 w 1112393"/>
                    <a:gd name="connsiteY4" fmla="*/ 164566 h 2194956"/>
                    <a:gd name="connsiteX5" fmla="*/ 1089208 w 1112393"/>
                    <a:gd name="connsiteY5" fmla="*/ 680565 h 2194956"/>
                    <a:gd name="connsiteX6" fmla="*/ 1089208 w 1112393"/>
                    <a:gd name="connsiteY6" fmla="*/ 702296 h 2194956"/>
                    <a:gd name="connsiteX7" fmla="*/ 1089208 w 1112393"/>
                    <a:gd name="connsiteY7" fmla="*/ 960493 h 2194956"/>
                    <a:gd name="connsiteX8" fmla="*/ 1089208 w 1112393"/>
                    <a:gd name="connsiteY8" fmla="*/ 1515535 h 2194956"/>
                    <a:gd name="connsiteX9" fmla="*/ 776208 w 1112393"/>
                    <a:gd name="connsiteY9" fmla="*/ 1960526 h 2194956"/>
                    <a:gd name="connsiteX10" fmla="*/ 221534 w 1112393"/>
                    <a:gd name="connsiteY10" fmla="*/ 2174813 h 2194956"/>
                    <a:gd name="connsiteX11" fmla="*/ 205145 w 1112393"/>
                    <a:gd name="connsiteY11" fmla="*/ 2185889 h 2194956"/>
                    <a:gd name="connsiteX12" fmla="*/ 188728 w 1112393"/>
                    <a:gd name="connsiteY12" fmla="*/ 2185889 h 2194956"/>
                    <a:gd name="connsiteX13" fmla="*/ 166548 w 1112393"/>
                    <a:gd name="connsiteY13" fmla="*/ 2185889 h 2194956"/>
                    <a:gd name="connsiteX14" fmla="*/ 106275 w 1112393"/>
                    <a:gd name="connsiteY14" fmla="*/ 2185889 h 2194956"/>
                    <a:gd name="connsiteX15" fmla="*/ 51289 w 1112393"/>
                    <a:gd name="connsiteY15" fmla="*/ 2152634 h 2194956"/>
                    <a:gd name="connsiteX16" fmla="*/ 29559 w 1112393"/>
                    <a:gd name="connsiteY16" fmla="*/ 2092280 h 2194956"/>
                    <a:gd name="connsiteX17" fmla="*/ 2065 w 1112393"/>
                    <a:gd name="connsiteY17" fmla="*/ 2015538 h 2194956"/>
                    <a:gd name="connsiteX18" fmla="*/ 34873 w 1112393"/>
                    <a:gd name="connsiteY18" fmla="*/ 1927692 h 2194956"/>
                    <a:gd name="connsiteX19" fmla="*/ 111590 w 1112393"/>
                    <a:gd name="connsiteY19" fmla="*/ 1900173 h 2194956"/>
                    <a:gd name="connsiteX20" fmla="*/ 358974 w 1112393"/>
                    <a:gd name="connsiteY20" fmla="*/ 1806565 h 2194956"/>
                    <a:gd name="connsiteX21" fmla="*/ 754032 w 1112393"/>
                    <a:gd name="connsiteY21" fmla="*/ 1565206 h 2194956"/>
                    <a:gd name="connsiteX22" fmla="*/ 787285 w 1112393"/>
                    <a:gd name="connsiteY22" fmla="*/ 1031922 h 2194956"/>
                    <a:gd name="connsiteX23" fmla="*/ 216221 w 1112393"/>
                    <a:gd name="connsiteY23" fmla="*/ 1031922 h 2194956"/>
                    <a:gd name="connsiteX24" fmla="*/ 128428 w 1112393"/>
                    <a:gd name="connsiteY24" fmla="*/ 1031922 h 2194956"/>
                    <a:gd name="connsiteX25" fmla="*/ 62366 w 1112393"/>
                    <a:gd name="connsiteY25" fmla="*/ 966281 h 2194956"/>
                    <a:gd name="connsiteX26" fmla="*/ 62366 w 1112393"/>
                    <a:gd name="connsiteY26" fmla="*/ 878435 h 2194956"/>
                    <a:gd name="connsiteX27" fmla="*/ 62366 w 1112393"/>
                    <a:gd name="connsiteY27" fmla="*/ 164566 h 2194956"/>
                    <a:gd name="connsiteX28" fmla="*/ 62366 w 1112393"/>
                    <a:gd name="connsiteY28" fmla="*/ 76721 h 2194956"/>
                    <a:gd name="connsiteX29" fmla="*/ 128428 w 1112393"/>
                    <a:gd name="connsiteY29" fmla="*/ 5291 h 2194956"/>
                    <a:gd name="connsiteX30" fmla="*/ 216221 w 1112393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9224 h 2198889"/>
                    <a:gd name="connsiteX1" fmla="*/ 927552 w 1110328"/>
                    <a:gd name="connsiteY1" fmla="*/ 9224 h 2198889"/>
                    <a:gd name="connsiteX2" fmla="*/ 1015319 w 1110328"/>
                    <a:gd name="connsiteY2" fmla="*/ 9224 h 2198889"/>
                    <a:gd name="connsiteX3" fmla="*/ 1087143 w 1110328"/>
                    <a:gd name="connsiteY3" fmla="*/ 80654 h 2198889"/>
                    <a:gd name="connsiteX4" fmla="*/ 1087143 w 1110328"/>
                    <a:gd name="connsiteY4" fmla="*/ 168499 h 2198889"/>
                    <a:gd name="connsiteX5" fmla="*/ 1087143 w 1110328"/>
                    <a:gd name="connsiteY5" fmla="*/ 684498 h 2198889"/>
                    <a:gd name="connsiteX6" fmla="*/ 1087143 w 1110328"/>
                    <a:gd name="connsiteY6" fmla="*/ 706229 h 2198889"/>
                    <a:gd name="connsiteX7" fmla="*/ 1087143 w 1110328"/>
                    <a:gd name="connsiteY7" fmla="*/ 964426 h 2198889"/>
                    <a:gd name="connsiteX8" fmla="*/ 1087143 w 1110328"/>
                    <a:gd name="connsiteY8" fmla="*/ 1519468 h 2198889"/>
                    <a:gd name="connsiteX9" fmla="*/ 774143 w 1110328"/>
                    <a:gd name="connsiteY9" fmla="*/ 1964459 h 2198889"/>
                    <a:gd name="connsiteX10" fmla="*/ 219469 w 1110328"/>
                    <a:gd name="connsiteY10" fmla="*/ 2178746 h 2198889"/>
                    <a:gd name="connsiteX11" fmla="*/ 203080 w 1110328"/>
                    <a:gd name="connsiteY11" fmla="*/ 2189822 h 2198889"/>
                    <a:gd name="connsiteX12" fmla="*/ 186663 w 1110328"/>
                    <a:gd name="connsiteY12" fmla="*/ 2189822 h 2198889"/>
                    <a:gd name="connsiteX13" fmla="*/ 164483 w 1110328"/>
                    <a:gd name="connsiteY13" fmla="*/ 2189822 h 2198889"/>
                    <a:gd name="connsiteX14" fmla="*/ 104210 w 1110328"/>
                    <a:gd name="connsiteY14" fmla="*/ 2189822 h 2198889"/>
                    <a:gd name="connsiteX15" fmla="*/ 49224 w 1110328"/>
                    <a:gd name="connsiteY15" fmla="*/ 2156567 h 2198889"/>
                    <a:gd name="connsiteX16" fmla="*/ 27494 w 1110328"/>
                    <a:gd name="connsiteY16" fmla="*/ 2096213 h 2198889"/>
                    <a:gd name="connsiteX17" fmla="*/ 0 w 1110328"/>
                    <a:gd name="connsiteY17" fmla="*/ 2019471 h 2198889"/>
                    <a:gd name="connsiteX18" fmla="*/ 32808 w 1110328"/>
                    <a:gd name="connsiteY18" fmla="*/ 1931625 h 2198889"/>
                    <a:gd name="connsiteX19" fmla="*/ 109525 w 1110328"/>
                    <a:gd name="connsiteY19" fmla="*/ 1904106 h 2198889"/>
                    <a:gd name="connsiteX20" fmla="*/ 356909 w 1110328"/>
                    <a:gd name="connsiteY20" fmla="*/ 1810498 h 2198889"/>
                    <a:gd name="connsiteX21" fmla="*/ 751967 w 1110328"/>
                    <a:gd name="connsiteY21" fmla="*/ 1569139 h 2198889"/>
                    <a:gd name="connsiteX22" fmla="*/ 785220 w 1110328"/>
                    <a:gd name="connsiteY22" fmla="*/ 1035855 h 2198889"/>
                    <a:gd name="connsiteX23" fmla="*/ 214156 w 1110328"/>
                    <a:gd name="connsiteY23" fmla="*/ 1035855 h 2198889"/>
                    <a:gd name="connsiteX24" fmla="*/ 126363 w 1110328"/>
                    <a:gd name="connsiteY24" fmla="*/ 1035855 h 2198889"/>
                    <a:gd name="connsiteX25" fmla="*/ 60301 w 1110328"/>
                    <a:gd name="connsiteY25" fmla="*/ 970214 h 2198889"/>
                    <a:gd name="connsiteX26" fmla="*/ 60301 w 1110328"/>
                    <a:gd name="connsiteY26" fmla="*/ 882368 h 2198889"/>
                    <a:gd name="connsiteX27" fmla="*/ 60301 w 1110328"/>
                    <a:gd name="connsiteY27" fmla="*/ 168499 h 2198889"/>
                    <a:gd name="connsiteX28" fmla="*/ 60301 w 1110328"/>
                    <a:gd name="connsiteY28" fmla="*/ 80654 h 2198889"/>
                    <a:gd name="connsiteX29" fmla="*/ 126363 w 1110328"/>
                    <a:gd name="connsiteY29" fmla="*/ 9224 h 2198889"/>
                    <a:gd name="connsiteX30" fmla="*/ 214156 w 1110328"/>
                    <a:gd name="connsiteY30" fmla="*/ 9224 h 2198889"/>
                    <a:gd name="connsiteX0" fmla="*/ 214156 w 1110328"/>
                    <a:gd name="connsiteY0" fmla="*/ 5292 h 2194957"/>
                    <a:gd name="connsiteX1" fmla="*/ 927552 w 1110328"/>
                    <a:gd name="connsiteY1" fmla="*/ 5292 h 2194957"/>
                    <a:gd name="connsiteX2" fmla="*/ 1015319 w 1110328"/>
                    <a:gd name="connsiteY2" fmla="*/ 5292 h 2194957"/>
                    <a:gd name="connsiteX3" fmla="*/ 1087143 w 1110328"/>
                    <a:gd name="connsiteY3" fmla="*/ 76722 h 2194957"/>
                    <a:gd name="connsiteX4" fmla="*/ 1087143 w 1110328"/>
                    <a:gd name="connsiteY4" fmla="*/ 164567 h 2194957"/>
                    <a:gd name="connsiteX5" fmla="*/ 1087143 w 1110328"/>
                    <a:gd name="connsiteY5" fmla="*/ 680566 h 2194957"/>
                    <a:gd name="connsiteX6" fmla="*/ 1087143 w 1110328"/>
                    <a:gd name="connsiteY6" fmla="*/ 702297 h 2194957"/>
                    <a:gd name="connsiteX7" fmla="*/ 1087143 w 1110328"/>
                    <a:gd name="connsiteY7" fmla="*/ 960494 h 2194957"/>
                    <a:gd name="connsiteX8" fmla="*/ 1087143 w 1110328"/>
                    <a:gd name="connsiteY8" fmla="*/ 1515536 h 2194957"/>
                    <a:gd name="connsiteX9" fmla="*/ 774143 w 1110328"/>
                    <a:gd name="connsiteY9" fmla="*/ 1960527 h 2194957"/>
                    <a:gd name="connsiteX10" fmla="*/ 219469 w 1110328"/>
                    <a:gd name="connsiteY10" fmla="*/ 2174814 h 2194957"/>
                    <a:gd name="connsiteX11" fmla="*/ 203080 w 1110328"/>
                    <a:gd name="connsiteY11" fmla="*/ 2185890 h 2194957"/>
                    <a:gd name="connsiteX12" fmla="*/ 186663 w 1110328"/>
                    <a:gd name="connsiteY12" fmla="*/ 2185890 h 2194957"/>
                    <a:gd name="connsiteX13" fmla="*/ 164483 w 1110328"/>
                    <a:gd name="connsiteY13" fmla="*/ 2185890 h 2194957"/>
                    <a:gd name="connsiteX14" fmla="*/ 104210 w 1110328"/>
                    <a:gd name="connsiteY14" fmla="*/ 2185890 h 2194957"/>
                    <a:gd name="connsiteX15" fmla="*/ 49224 w 1110328"/>
                    <a:gd name="connsiteY15" fmla="*/ 2152635 h 2194957"/>
                    <a:gd name="connsiteX16" fmla="*/ 27494 w 1110328"/>
                    <a:gd name="connsiteY16" fmla="*/ 2092281 h 2194957"/>
                    <a:gd name="connsiteX17" fmla="*/ 0 w 1110328"/>
                    <a:gd name="connsiteY17" fmla="*/ 2015539 h 2194957"/>
                    <a:gd name="connsiteX18" fmla="*/ 32808 w 1110328"/>
                    <a:gd name="connsiteY18" fmla="*/ 1927693 h 2194957"/>
                    <a:gd name="connsiteX19" fmla="*/ 109525 w 1110328"/>
                    <a:gd name="connsiteY19" fmla="*/ 1900174 h 2194957"/>
                    <a:gd name="connsiteX20" fmla="*/ 356909 w 1110328"/>
                    <a:gd name="connsiteY20" fmla="*/ 1806566 h 2194957"/>
                    <a:gd name="connsiteX21" fmla="*/ 751967 w 1110328"/>
                    <a:gd name="connsiteY21" fmla="*/ 1565207 h 2194957"/>
                    <a:gd name="connsiteX22" fmla="*/ 785220 w 1110328"/>
                    <a:gd name="connsiteY22" fmla="*/ 1031923 h 2194957"/>
                    <a:gd name="connsiteX23" fmla="*/ 214156 w 1110328"/>
                    <a:gd name="connsiteY23" fmla="*/ 1031923 h 2194957"/>
                    <a:gd name="connsiteX24" fmla="*/ 126363 w 1110328"/>
                    <a:gd name="connsiteY24" fmla="*/ 1031923 h 2194957"/>
                    <a:gd name="connsiteX25" fmla="*/ 60301 w 1110328"/>
                    <a:gd name="connsiteY25" fmla="*/ 966282 h 2194957"/>
                    <a:gd name="connsiteX26" fmla="*/ 60301 w 1110328"/>
                    <a:gd name="connsiteY26" fmla="*/ 878436 h 2194957"/>
                    <a:gd name="connsiteX27" fmla="*/ 60301 w 1110328"/>
                    <a:gd name="connsiteY27" fmla="*/ 164567 h 2194957"/>
                    <a:gd name="connsiteX28" fmla="*/ 60301 w 1110328"/>
                    <a:gd name="connsiteY28" fmla="*/ 76722 h 2194957"/>
                    <a:gd name="connsiteX29" fmla="*/ 126363 w 1110328"/>
                    <a:gd name="connsiteY29" fmla="*/ 5292 h 2194957"/>
                    <a:gd name="connsiteX30" fmla="*/ 214156 w 1110328"/>
                    <a:gd name="connsiteY30" fmla="*/ 5292 h 2194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1110328" h="2194957">
                      <a:moveTo>
                        <a:pt x="214156" y="5292"/>
                      </a:moveTo>
                      <a:lnTo>
                        <a:pt x="927552" y="5292"/>
                      </a:lnTo>
                      <a:cubicBezTo>
                        <a:pt x="1061079" y="5292"/>
                        <a:pt x="988721" y="-6613"/>
                        <a:pt x="1015319" y="5292"/>
                      </a:cubicBezTo>
                      <a:cubicBezTo>
                        <a:pt x="1041917" y="17197"/>
                        <a:pt x="1087143" y="47602"/>
                        <a:pt x="1087143" y="76722"/>
                      </a:cubicBezTo>
                      <a:lnTo>
                        <a:pt x="1087143" y="164567"/>
                      </a:lnTo>
                      <a:lnTo>
                        <a:pt x="1087143" y="680566"/>
                      </a:lnTo>
                      <a:lnTo>
                        <a:pt x="1087143" y="702297"/>
                      </a:lnTo>
                      <a:lnTo>
                        <a:pt x="1087143" y="960494"/>
                      </a:lnTo>
                      <a:cubicBezTo>
                        <a:pt x="1087143" y="1096034"/>
                        <a:pt x="1139310" y="1348864"/>
                        <a:pt x="1087143" y="1515536"/>
                      </a:cubicBezTo>
                      <a:cubicBezTo>
                        <a:pt x="1034976" y="1682208"/>
                        <a:pt x="943561" y="1895076"/>
                        <a:pt x="774143" y="1960527"/>
                      </a:cubicBezTo>
                      <a:lnTo>
                        <a:pt x="219469" y="2174814"/>
                      </a:lnTo>
                      <a:cubicBezTo>
                        <a:pt x="124292" y="2212375"/>
                        <a:pt x="208851" y="2185890"/>
                        <a:pt x="203080" y="2185890"/>
                      </a:cubicBezTo>
                      <a:lnTo>
                        <a:pt x="186663" y="2185890"/>
                      </a:lnTo>
                      <a:lnTo>
                        <a:pt x="164483" y="2185890"/>
                      </a:lnTo>
                      <a:cubicBezTo>
                        <a:pt x="150741" y="2185890"/>
                        <a:pt x="121318" y="2196237"/>
                        <a:pt x="104210" y="2185890"/>
                      </a:cubicBezTo>
                      <a:lnTo>
                        <a:pt x="49224" y="2152635"/>
                      </a:lnTo>
                      <a:cubicBezTo>
                        <a:pt x="36438" y="2137034"/>
                        <a:pt x="35682" y="2115136"/>
                        <a:pt x="27494" y="2092281"/>
                      </a:cubicBezTo>
                      <a:lnTo>
                        <a:pt x="0" y="2015539"/>
                      </a:lnTo>
                      <a:cubicBezTo>
                        <a:pt x="886" y="1988108"/>
                        <a:pt x="7853" y="1936645"/>
                        <a:pt x="32808" y="1927693"/>
                      </a:cubicBezTo>
                      <a:lnTo>
                        <a:pt x="109525" y="1900174"/>
                      </a:lnTo>
                      <a:cubicBezTo>
                        <a:pt x="163542" y="1879986"/>
                        <a:pt x="253864" y="1869521"/>
                        <a:pt x="356909" y="1806566"/>
                      </a:cubicBezTo>
                      <a:lnTo>
                        <a:pt x="751967" y="1565207"/>
                      </a:lnTo>
                      <a:cubicBezTo>
                        <a:pt x="823352" y="1436100"/>
                        <a:pt x="911451" y="1031923"/>
                        <a:pt x="785220" y="1031923"/>
                      </a:cubicBezTo>
                      <a:lnTo>
                        <a:pt x="214156" y="1031923"/>
                      </a:lnTo>
                      <a:cubicBezTo>
                        <a:pt x="104347" y="1031923"/>
                        <a:pt x="152006" y="1042863"/>
                        <a:pt x="126363" y="1031923"/>
                      </a:cubicBezTo>
                      <a:cubicBezTo>
                        <a:pt x="100721" y="1020983"/>
                        <a:pt x="60301" y="994132"/>
                        <a:pt x="60301" y="966282"/>
                      </a:cubicBezTo>
                      <a:lnTo>
                        <a:pt x="60301" y="878436"/>
                      </a:lnTo>
                      <a:lnTo>
                        <a:pt x="60301" y="164567"/>
                      </a:lnTo>
                      <a:cubicBezTo>
                        <a:pt x="60301" y="30948"/>
                        <a:pt x="40788" y="97820"/>
                        <a:pt x="60301" y="76722"/>
                      </a:cubicBezTo>
                      <a:lnTo>
                        <a:pt x="126363" y="5292"/>
                      </a:lnTo>
                      <a:cubicBezTo>
                        <a:pt x="152005" y="-6613"/>
                        <a:pt x="80625" y="5292"/>
                        <a:pt x="214156" y="5292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 w="6350" cap="sq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400"/>
                    </a:spcBef>
                    <a:spcAft>
                      <a:spcPts val="400"/>
                    </a:spcAft>
                  </a:pPr>
                  <a:endParaRPr lang="en-US" sz="2133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58" name="Freeform: Shape 257">
                  <a:extLst>
                    <a:ext uri="{FF2B5EF4-FFF2-40B4-BE49-F238E27FC236}">
                      <a16:creationId xmlns:a16="http://schemas.microsoft.com/office/drawing/2014/main" id="{DE9FDBBF-4355-4BFC-9CC3-6B4C705BAA3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283146" y="4018207"/>
                  <a:ext cx="1110328" cy="2194957"/>
                </a:xfrm>
                <a:custGeom>
                  <a:avLst/>
                  <a:gdLst>
                    <a:gd name="connsiteX0" fmla="*/ 214156 w 1087143"/>
                    <a:gd name="connsiteY0" fmla="*/ 0 h 2180598"/>
                    <a:gd name="connsiteX1" fmla="*/ 927552 w 1087143"/>
                    <a:gd name="connsiteY1" fmla="*/ 0 h 2180598"/>
                    <a:gd name="connsiteX2" fmla="*/ 1015319 w 1087143"/>
                    <a:gd name="connsiteY2" fmla="*/ 0 h 2180598"/>
                    <a:gd name="connsiteX3" fmla="*/ 1087143 w 1087143"/>
                    <a:gd name="connsiteY3" fmla="*/ 71430 h 2180598"/>
                    <a:gd name="connsiteX4" fmla="*/ 1087143 w 1087143"/>
                    <a:gd name="connsiteY4" fmla="*/ 159275 h 2180598"/>
                    <a:gd name="connsiteX5" fmla="*/ 1087143 w 1087143"/>
                    <a:gd name="connsiteY5" fmla="*/ 675274 h 2180598"/>
                    <a:gd name="connsiteX6" fmla="*/ 1087143 w 1087143"/>
                    <a:gd name="connsiteY6" fmla="*/ 697005 h 2180598"/>
                    <a:gd name="connsiteX7" fmla="*/ 1087143 w 1087143"/>
                    <a:gd name="connsiteY7" fmla="*/ 955202 h 2180598"/>
                    <a:gd name="connsiteX8" fmla="*/ 1087143 w 1087143"/>
                    <a:gd name="connsiteY8" fmla="*/ 1510244 h 2180598"/>
                    <a:gd name="connsiteX9" fmla="*/ 774143 w 1087143"/>
                    <a:gd name="connsiteY9" fmla="*/ 1955235 h 2180598"/>
                    <a:gd name="connsiteX10" fmla="*/ 219469 w 1087143"/>
                    <a:gd name="connsiteY10" fmla="*/ 2169522 h 2180598"/>
                    <a:gd name="connsiteX11" fmla="*/ 203080 w 1087143"/>
                    <a:gd name="connsiteY11" fmla="*/ 2180598 h 2180598"/>
                    <a:gd name="connsiteX12" fmla="*/ 186663 w 1087143"/>
                    <a:gd name="connsiteY12" fmla="*/ 2180598 h 2180598"/>
                    <a:gd name="connsiteX13" fmla="*/ 164483 w 1087143"/>
                    <a:gd name="connsiteY13" fmla="*/ 2180598 h 2180598"/>
                    <a:gd name="connsiteX14" fmla="*/ 104210 w 1087143"/>
                    <a:gd name="connsiteY14" fmla="*/ 2180598 h 2180598"/>
                    <a:gd name="connsiteX15" fmla="*/ 49224 w 1087143"/>
                    <a:gd name="connsiteY15" fmla="*/ 2147343 h 2180598"/>
                    <a:gd name="connsiteX16" fmla="*/ 27494 w 1087143"/>
                    <a:gd name="connsiteY16" fmla="*/ 2086989 h 2180598"/>
                    <a:gd name="connsiteX17" fmla="*/ 0 w 1087143"/>
                    <a:gd name="connsiteY17" fmla="*/ 2010247 h 2180598"/>
                    <a:gd name="connsiteX18" fmla="*/ 32808 w 1087143"/>
                    <a:gd name="connsiteY18" fmla="*/ 1922401 h 2180598"/>
                    <a:gd name="connsiteX19" fmla="*/ 109525 w 1087143"/>
                    <a:gd name="connsiteY19" fmla="*/ 1894882 h 2180598"/>
                    <a:gd name="connsiteX20" fmla="*/ 356909 w 1087143"/>
                    <a:gd name="connsiteY20" fmla="*/ 1801274 h 2180598"/>
                    <a:gd name="connsiteX21" fmla="*/ 751967 w 1087143"/>
                    <a:gd name="connsiteY21" fmla="*/ 1559915 h 2180598"/>
                    <a:gd name="connsiteX22" fmla="*/ 785220 w 1087143"/>
                    <a:gd name="connsiteY22" fmla="*/ 1026631 h 2180598"/>
                    <a:gd name="connsiteX23" fmla="*/ 214156 w 1087143"/>
                    <a:gd name="connsiteY23" fmla="*/ 1026631 h 2180598"/>
                    <a:gd name="connsiteX24" fmla="*/ 126363 w 1087143"/>
                    <a:gd name="connsiteY24" fmla="*/ 1026631 h 2180598"/>
                    <a:gd name="connsiteX25" fmla="*/ 60301 w 1087143"/>
                    <a:gd name="connsiteY25" fmla="*/ 960990 h 2180598"/>
                    <a:gd name="connsiteX26" fmla="*/ 60301 w 1087143"/>
                    <a:gd name="connsiteY26" fmla="*/ 873144 h 2180598"/>
                    <a:gd name="connsiteX27" fmla="*/ 60301 w 1087143"/>
                    <a:gd name="connsiteY27" fmla="*/ 159275 h 2180598"/>
                    <a:gd name="connsiteX28" fmla="*/ 60301 w 1087143"/>
                    <a:gd name="connsiteY28" fmla="*/ 71430 h 2180598"/>
                    <a:gd name="connsiteX29" fmla="*/ 126363 w 1087143"/>
                    <a:gd name="connsiteY29" fmla="*/ 0 h 2180598"/>
                    <a:gd name="connsiteX30" fmla="*/ 214156 w 1087143"/>
                    <a:gd name="connsiteY30" fmla="*/ 0 h 2180598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087143"/>
                    <a:gd name="connsiteY0" fmla="*/ 5291 h 2185889"/>
                    <a:gd name="connsiteX1" fmla="*/ 927552 w 1087143"/>
                    <a:gd name="connsiteY1" fmla="*/ 5291 h 2185889"/>
                    <a:gd name="connsiteX2" fmla="*/ 1015319 w 1087143"/>
                    <a:gd name="connsiteY2" fmla="*/ 5291 h 2185889"/>
                    <a:gd name="connsiteX3" fmla="*/ 1087143 w 1087143"/>
                    <a:gd name="connsiteY3" fmla="*/ 76721 h 2185889"/>
                    <a:gd name="connsiteX4" fmla="*/ 1087143 w 1087143"/>
                    <a:gd name="connsiteY4" fmla="*/ 164566 h 2185889"/>
                    <a:gd name="connsiteX5" fmla="*/ 1087143 w 1087143"/>
                    <a:gd name="connsiteY5" fmla="*/ 680565 h 2185889"/>
                    <a:gd name="connsiteX6" fmla="*/ 1087143 w 1087143"/>
                    <a:gd name="connsiteY6" fmla="*/ 702296 h 2185889"/>
                    <a:gd name="connsiteX7" fmla="*/ 1087143 w 1087143"/>
                    <a:gd name="connsiteY7" fmla="*/ 960493 h 2185889"/>
                    <a:gd name="connsiteX8" fmla="*/ 1087143 w 1087143"/>
                    <a:gd name="connsiteY8" fmla="*/ 1515535 h 2185889"/>
                    <a:gd name="connsiteX9" fmla="*/ 774143 w 1087143"/>
                    <a:gd name="connsiteY9" fmla="*/ 1960526 h 2185889"/>
                    <a:gd name="connsiteX10" fmla="*/ 219469 w 1087143"/>
                    <a:gd name="connsiteY10" fmla="*/ 2174813 h 2185889"/>
                    <a:gd name="connsiteX11" fmla="*/ 203080 w 1087143"/>
                    <a:gd name="connsiteY11" fmla="*/ 2185889 h 2185889"/>
                    <a:gd name="connsiteX12" fmla="*/ 186663 w 1087143"/>
                    <a:gd name="connsiteY12" fmla="*/ 2185889 h 2185889"/>
                    <a:gd name="connsiteX13" fmla="*/ 164483 w 1087143"/>
                    <a:gd name="connsiteY13" fmla="*/ 2185889 h 2185889"/>
                    <a:gd name="connsiteX14" fmla="*/ 104210 w 1087143"/>
                    <a:gd name="connsiteY14" fmla="*/ 2185889 h 2185889"/>
                    <a:gd name="connsiteX15" fmla="*/ 49224 w 1087143"/>
                    <a:gd name="connsiteY15" fmla="*/ 2152634 h 2185889"/>
                    <a:gd name="connsiteX16" fmla="*/ 27494 w 1087143"/>
                    <a:gd name="connsiteY16" fmla="*/ 2092280 h 2185889"/>
                    <a:gd name="connsiteX17" fmla="*/ 0 w 1087143"/>
                    <a:gd name="connsiteY17" fmla="*/ 2015538 h 2185889"/>
                    <a:gd name="connsiteX18" fmla="*/ 32808 w 1087143"/>
                    <a:gd name="connsiteY18" fmla="*/ 1927692 h 2185889"/>
                    <a:gd name="connsiteX19" fmla="*/ 109525 w 1087143"/>
                    <a:gd name="connsiteY19" fmla="*/ 1900173 h 2185889"/>
                    <a:gd name="connsiteX20" fmla="*/ 356909 w 1087143"/>
                    <a:gd name="connsiteY20" fmla="*/ 1806565 h 2185889"/>
                    <a:gd name="connsiteX21" fmla="*/ 751967 w 1087143"/>
                    <a:gd name="connsiteY21" fmla="*/ 1565206 h 2185889"/>
                    <a:gd name="connsiteX22" fmla="*/ 785220 w 1087143"/>
                    <a:gd name="connsiteY22" fmla="*/ 1031922 h 2185889"/>
                    <a:gd name="connsiteX23" fmla="*/ 214156 w 1087143"/>
                    <a:gd name="connsiteY23" fmla="*/ 1031922 h 2185889"/>
                    <a:gd name="connsiteX24" fmla="*/ 126363 w 1087143"/>
                    <a:gd name="connsiteY24" fmla="*/ 1031922 h 2185889"/>
                    <a:gd name="connsiteX25" fmla="*/ 60301 w 1087143"/>
                    <a:gd name="connsiteY25" fmla="*/ 966281 h 2185889"/>
                    <a:gd name="connsiteX26" fmla="*/ 60301 w 1087143"/>
                    <a:gd name="connsiteY26" fmla="*/ 878435 h 2185889"/>
                    <a:gd name="connsiteX27" fmla="*/ 60301 w 1087143"/>
                    <a:gd name="connsiteY27" fmla="*/ 164566 h 2185889"/>
                    <a:gd name="connsiteX28" fmla="*/ 60301 w 1087143"/>
                    <a:gd name="connsiteY28" fmla="*/ 76721 h 2185889"/>
                    <a:gd name="connsiteX29" fmla="*/ 126363 w 1087143"/>
                    <a:gd name="connsiteY29" fmla="*/ 5291 h 2185889"/>
                    <a:gd name="connsiteX30" fmla="*/ 214156 w 1087143"/>
                    <a:gd name="connsiteY30" fmla="*/ 5291 h 2185889"/>
                    <a:gd name="connsiteX0" fmla="*/ 214156 w 1110328"/>
                    <a:gd name="connsiteY0" fmla="*/ 5291 h 2185889"/>
                    <a:gd name="connsiteX1" fmla="*/ 927552 w 1110328"/>
                    <a:gd name="connsiteY1" fmla="*/ 5291 h 2185889"/>
                    <a:gd name="connsiteX2" fmla="*/ 1015319 w 1110328"/>
                    <a:gd name="connsiteY2" fmla="*/ 5291 h 2185889"/>
                    <a:gd name="connsiteX3" fmla="*/ 1087143 w 1110328"/>
                    <a:gd name="connsiteY3" fmla="*/ 76721 h 2185889"/>
                    <a:gd name="connsiteX4" fmla="*/ 1087143 w 1110328"/>
                    <a:gd name="connsiteY4" fmla="*/ 164566 h 2185889"/>
                    <a:gd name="connsiteX5" fmla="*/ 1087143 w 1110328"/>
                    <a:gd name="connsiteY5" fmla="*/ 680565 h 2185889"/>
                    <a:gd name="connsiteX6" fmla="*/ 1087143 w 1110328"/>
                    <a:gd name="connsiteY6" fmla="*/ 702296 h 2185889"/>
                    <a:gd name="connsiteX7" fmla="*/ 1087143 w 1110328"/>
                    <a:gd name="connsiteY7" fmla="*/ 960493 h 2185889"/>
                    <a:gd name="connsiteX8" fmla="*/ 1087143 w 1110328"/>
                    <a:gd name="connsiteY8" fmla="*/ 1515535 h 2185889"/>
                    <a:gd name="connsiteX9" fmla="*/ 774143 w 1110328"/>
                    <a:gd name="connsiteY9" fmla="*/ 1960526 h 2185889"/>
                    <a:gd name="connsiteX10" fmla="*/ 219469 w 1110328"/>
                    <a:gd name="connsiteY10" fmla="*/ 2174813 h 2185889"/>
                    <a:gd name="connsiteX11" fmla="*/ 203080 w 1110328"/>
                    <a:gd name="connsiteY11" fmla="*/ 2185889 h 2185889"/>
                    <a:gd name="connsiteX12" fmla="*/ 186663 w 1110328"/>
                    <a:gd name="connsiteY12" fmla="*/ 2185889 h 2185889"/>
                    <a:gd name="connsiteX13" fmla="*/ 164483 w 1110328"/>
                    <a:gd name="connsiteY13" fmla="*/ 2185889 h 2185889"/>
                    <a:gd name="connsiteX14" fmla="*/ 104210 w 1110328"/>
                    <a:gd name="connsiteY14" fmla="*/ 2185889 h 2185889"/>
                    <a:gd name="connsiteX15" fmla="*/ 49224 w 1110328"/>
                    <a:gd name="connsiteY15" fmla="*/ 2152634 h 2185889"/>
                    <a:gd name="connsiteX16" fmla="*/ 27494 w 1110328"/>
                    <a:gd name="connsiteY16" fmla="*/ 2092280 h 2185889"/>
                    <a:gd name="connsiteX17" fmla="*/ 0 w 1110328"/>
                    <a:gd name="connsiteY17" fmla="*/ 2015538 h 2185889"/>
                    <a:gd name="connsiteX18" fmla="*/ 32808 w 1110328"/>
                    <a:gd name="connsiteY18" fmla="*/ 1927692 h 2185889"/>
                    <a:gd name="connsiteX19" fmla="*/ 109525 w 1110328"/>
                    <a:gd name="connsiteY19" fmla="*/ 1900173 h 2185889"/>
                    <a:gd name="connsiteX20" fmla="*/ 356909 w 1110328"/>
                    <a:gd name="connsiteY20" fmla="*/ 1806565 h 2185889"/>
                    <a:gd name="connsiteX21" fmla="*/ 751967 w 1110328"/>
                    <a:gd name="connsiteY21" fmla="*/ 1565206 h 2185889"/>
                    <a:gd name="connsiteX22" fmla="*/ 785220 w 1110328"/>
                    <a:gd name="connsiteY22" fmla="*/ 1031922 h 2185889"/>
                    <a:gd name="connsiteX23" fmla="*/ 214156 w 1110328"/>
                    <a:gd name="connsiteY23" fmla="*/ 1031922 h 2185889"/>
                    <a:gd name="connsiteX24" fmla="*/ 126363 w 1110328"/>
                    <a:gd name="connsiteY24" fmla="*/ 1031922 h 2185889"/>
                    <a:gd name="connsiteX25" fmla="*/ 60301 w 1110328"/>
                    <a:gd name="connsiteY25" fmla="*/ 966281 h 2185889"/>
                    <a:gd name="connsiteX26" fmla="*/ 60301 w 1110328"/>
                    <a:gd name="connsiteY26" fmla="*/ 878435 h 2185889"/>
                    <a:gd name="connsiteX27" fmla="*/ 60301 w 1110328"/>
                    <a:gd name="connsiteY27" fmla="*/ 164566 h 2185889"/>
                    <a:gd name="connsiteX28" fmla="*/ 60301 w 1110328"/>
                    <a:gd name="connsiteY28" fmla="*/ 76721 h 2185889"/>
                    <a:gd name="connsiteX29" fmla="*/ 126363 w 1110328"/>
                    <a:gd name="connsiteY29" fmla="*/ 5291 h 2185889"/>
                    <a:gd name="connsiteX30" fmla="*/ 214156 w 1110328"/>
                    <a:gd name="connsiteY30" fmla="*/ 5291 h 2185889"/>
                    <a:gd name="connsiteX0" fmla="*/ 214156 w 1110328"/>
                    <a:gd name="connsiteY0" fmla="*/ 5291 h 2185889"/>
                    <a:gd name="connsiteX1" fmla="*/ 927552 w 1110328"/>
                    <a:gd name="connsiteY1" fmla="*/ 5291 h 2185889"/>
                    <a:gd name="connsiteX2" fmla="*/ 1015319 w 1110328"/>
                    <a:gd name="connsiteY2" fmla="*/ 5291 h 2185889"/>
                    <a:gd name="connsiteX3" fmla="*/ 1087143 w 1110328"/>
                    <a:gd name="connsiteY3" fmla="*/ 76721 h 2185889"/>
                    <a:gd name="connsiteX4" fmla="*/ 1087143 w 1110328"/>
                    <a:gd name="connsiteY4" fmla="*/ 164566 h 2185889"/>
                    <a:gd name="connsiteX5" fmla="*/ 1087143 w 1110328"/>
                    <a:gd name="connsiteY5" fmla="*/ 680565 h 2185889"/>
                    <a:gd name="connsiteX6" fmla="*/ 1087143 w 1110328"/>
                    <a:gd name="connsiteY6" fmla="*/ 702296 h 2185889"/>
                    <a:gd name="connsiteX7" fmla="*/ 1087143 w 1110328"/>
                    <a:gd name="connsiteY7" fmla="*/ 960493 h 2185889"/>
                    <a:gd name="connsiteX8" fmla="*/ 1087143 w 1110328"/>
                    <a:gd name="connsiteY8" fmla="*/ 1515535 h 2185889"/>
                    <a:gd name="connsiteX9" fmla="*/ 774143 w 1110328"/>
                    <a:gd name="connsiteY9" fmla="*/ 1960526 h 2185889"/>
                    <a:gd name="connsiteX10" fmla="*/ 219469 w 1110328"/>
                    <a:gd name="connsiteY10" fmla="*/ 2174813 h 2185889"/>
                    <a:gd name="connsiteX11" fmla="*/ 203080 w 1110328"/>
                    <a:gd name="connsiteY11" fmla="*/ 2185889 h 2185889"/>
                    <a:gd name="connsiteX12" fmla="*/ 186663 w 1110328"/>
                    <a:gd name="connsiteY12" fmla="*/ 2185889 h 2185889"/>
                    <a:gd name="connsiteX13" fmla="*/ 164483 w 1110328"/>
                    <a:gd name="connsiteY13" fmla="*/ 2185889 h 2185889"/>
                    <a:gd name="connsiteX14" fmla="*/ 104210 w 1110328"/>
                    <a:gd name="connsiteY14" fmla="*/ 2185889 h 2185889"/>
                    <a:gd name="connsiteX15" fmla="*/ 49224 w 1110328"/>
                    <a:gd name="connsiteY15" fmla="*/ 2152634 h 2185889"/>
                    <a:gd name="connsiteX16" fmla="*/ 27494 w 1110328"/>
                    <a:gd name="connsiteY16" fmla="*/ 2092280 h 2185889"/>
                    <a:gd name="connsiteX17" fmla="*/ 0 w 1110328"/>
                    <a:gd name="connsiteY17" fmla="*/ 2015538 h 2185889"/>
                    <a:gd name="connsiteX18" fmla="*/ 32808 w 1110328"/>
                    <a:gd name="connsiteY18" fmla="*/ 1927692 h 2185889"/>
                    <a:gd name="connsiteX19" fmla="*/ 109525 w 1110328"/>
                    <a:gd name="connsiteY19" fmla="*/ 1900173 h 2185889"/>
                    <a:gd name="connsiteX20" fmla="*/ 356909 w 1110328"/>
                    <a:gd name="connsiteY20" fmla="*/ 1806565 h 2185889"/>
                    <a:gd name="connsiteX21" fmla="*/ 751967 w 1110328"/>
                    <a:gd name="connsiteY21" fmla="*/ 1565206 h 2185889"/>
                    <a:gd name="connsiteX22" fmla="*/ 785220 w 1110328"/>
                    <a:gd name="connsiteY22" fmla="*/ 1031922 h 2185889"/>
                    <a:gd name="connsiteX23" fmla="*/ 214156 w 1110328"/>
                    <a:gd name="connsiteY23" fmla="*/ 1031922 h 2185889"/>
                    <a:gd name="connsiteX24" fmla="*/ 126363 w 1110328"/>
                    <a:gd name="connsiteY24" fmla="*/ 1031922 h 2185889"/>
                    <a:gd name="connsiteX25" fmla="*/ 60301 w 1110328"/>
                    <a:gd name="connsiteY25" fmla="*/ 966281 h 2185889"/>
                    <a:gd name="connsiteX26" fmla="*/ 60301 w 1110328"/>
                    <a:gd name="connsiteY26" fmla="*/ 878435 h 2185889"/>
                    <a:gd name="connsiteX27" fmla="*/ 60301 w 1110328"/>
                    <a:gd name="connsiteY27" fmla="*/ 164566 h 2185889"/>
                    <a:gd name="connsiteX28" fmla="*/ 60301 w 1110328"/>
                    <a:gd name="connsiteY28" fmla="*/ 76721 h 2185889"/>
                    <a:gd name="connsiteX29" fmla="*/ 126363 w 1110328"/>
                    <a:gd name="connsiteY29" fmla="*/ 5291 h 2185889"/>
                    <a:gd name="connsiteX30" fmla="*/ 214156 w 1110328"/>
                    <a:gd name="connsiteY30" fmla="*/ 5291 h 2185889"/>
                    <a:gd name="connsiteX0" fmla="*/ 214156 w 1110328"/>
                    <a:gd name="connsiteY0" fmla="*/ 5291 h 2194111"/>
                    <a:gd name="connsiteX1" fmla="*/ 927552 w 1110328"/>
                    <a:gd name="connsiteY1" fmla="*/ 5291 h 2194111"/>
                    <a:gd name="connsiteX2" fmla="*/ 1015319 w 1110328"/>
                    <a:gd name="connsiteY2" fmla="*/ 5291 h 2194111"/>
                    <a:gd name="connsiteX3" fmla="*/ 1087143 w 1110328"/>
                    <a:gd name="connsiteY3" fmla="*/ 76721 h 2194111"/>
                    <a:gd name="connsiteX4" fmla="*/ 1087143 w 1110328"/>
                    <a:gd name="connsiteY4" fmla="*/ 164566 h 2194111"/>
                    <a:gd name="connsiteX5" fmla="*/ 1087143 w 1110328"/>
                    <a:gd name="connsiteY5" fmla="*/ 680565 h 2194111"/>
                    <a:gd name="connsiteX6" fmla="*/ 1087143 w 1110328"/>
                    <a:gd name="connsiteY6" fmla="*/ 702296 h 2194111"/>
                    <a:gd name="connsiteX7" fmla="*/ 1087143 w 1110328"/>
                    <a:gd name="connsiteY7" fmla="*/ 960493 h 2194111"/>
                    <a:gd name="connsiteX8" fmla="*/ 1087143 w 1110328"/>
                    <a:gd name="connsiteY8" fmla="*/ 1515535 h 2194111"/>
                    <a:gd name="connsiteX9" fmla="*/ 774143 w 1110328"/>
                    <a:gd name="connsiteY9" fmla="*/ 1960526 h 2194111"/>
                    <a:gd name="connsiteX10" fmla="*/ 219469 w 1110328"/>
                    <a:gd name="connsiteY10" fmla="*/ 2174813 h 2194111"/>
                    <a:gd name="connsiteX11" fmla="*/ 203080 w 1110328"/>
                    <a:gd name="connsiteY11" fmla="*/ 2185889 h 2194111"/>
                    <a:gd name="connsiteX12" fmla="*/ 186663 w 1110328"/>
                    <a:gd name="connsiteY12" fmla="*/ 2185889 h 2194111"/>
                    <a:gd name="connsiteX13" fmla="*/ 164483 w 1110328"/>
                    <a:gd name="connsiteY13" fmla="*/ 2185889 h 2194111"/>
                    <a:gd name="connsiteX14" fmla="*/ 104210 w 1110328"/>
                    <a:gd name="connsiteY14" fmla="*/ 2185889 h 2194111"/>
                    <a:gd name="connsiteX15" fmla="*/ 49224 w 1110328"/>
                    <a:gd name="connsiteY15" fmla="*/ 2152634 h 2194111"/>
                    <a:gd name="connsiteX16" fmla="*/ 27494 w 1110328"/>
                    <a:gd name="connsiteY16" fmla="*/ 2092280 h 2194111"/>
                    <a:gd name="connsiteX17" fmla="*/ 0 w 1110328"/>
                    <a:gd name="connsiteY17" fmla="*/ 2015538 h 2194111"/>
                    <a:gd name="connsiteX18" fmla="*/ 32808 w 1110328"/>
                    <a:gd name="connsiteY18" fmla="*/ 1927692 h 2194111"/>
                    <a:gd name="connsiteX19" fmla="*/ 109525 w 1110328"/>
                    <a:gd name="connsiteY19" fmla="*/ 1900173 h 2194111"/>
                    <a:gd name="connsiteX20" fmla="*/ 356909 w 1110328"/>
                    <a:gd name="connsiteY20" fmla="*/ 1806565 h 2194111"/>
                    <a:gd name="connsiteX21" fmla="*/ 751967 w 1110328"/>
                    <a:gd name="connsiteY21" fmla="*/ 1565206 h 2194111"/>
                    <a:gd name="connsiteX22" fmla="*/ 785220 w 1110328"/>
                    <a:gd name="connsiteY22" fmla="*/ 1031922 h 2194111"/>
                    <a:gd name="connsiteX23" fmla="*/ 214156 w 1110328"/>
                    <a:gd name="connsiteY23" fmla="*/ 1031922 h 2194111"/>
                    <a:gd name="connsiteX24" fmla="*/ 126363 w 1110328"/>
                    <a:gd name="connsiteY24" fmla="*/ 1031922 h 2194111"/>
                    <a:gd name="connsiteX25" fmla="*/ 60301 w 1110328"/>
                    <a:gd name="connsiteY25" fmla="*/ 966281 h 2194111"/>
                    <a:gd name="connsiteX26" fmla="*/ 60301 w 1110328"/>
                    <a:gd name="connsiteY26" fmla="*/ 878435 h 2194111"/>
                    <a:gd name="connsiteX27" fmla="*/ 60301 w 1110328"/>
                    <a:gd name="connsiteY27" fmla="*/ 164566 h 2194111"/>
                    <a:gd name="connsiteX28" fmla="*/ 60301 w 1110328"/>
                    <a:gd name="connsiteY28" fmla="*/ 76721 h 2194111"/>
                    <a:gd name="connsiteX29" fmla="*/ 126363 w 1110328"/>
                    <a:gd name="connsiteY29" fmla="*/ 5291 h 2194111"/>
                    <a:gd name="connsiteX30" fmla="*/ 214156 w 1110328"/>
                    <a:gd name="connsiteY30" fmla="*/ 5291 h 2194111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6221 w 1112393"/>
                    <a:gd name="connsiteY0" fmla="*/ 5291 h 2194956"/>
                    <a:gd name="connsiteX1" fmla="*/ 929617 w 1112393"/>
                    <a:gd name="connsiteY1" fmla="*/ 5291 h 2194956"/>
                    <a:gd name="connsiteX2" fmla="*/ 1017384 w 1112393"/>
                    <a:gd name="connsiteY2" fmla="*/ 5291 h 2194956"/>
                    <a:gd name="connsiteX3" fmla="*/ 1089208 w 1112393"/>
                    <a:gd name="connsiteY3" fmla="*/ 76721 h 2194956"/>
                    <a:gd name="connsiteX4" fmla="*/ 1089208 w 1112393"/>
                    <a:gd name="connsiteY4" fmla="*/ 164566 h 2194956"/>
                    <a:gd name="connsiteX5" fmla="*/ 1089208 w 1112393"/>
                    <a:gd name="connsiteY5" fmla="*/ 680565 h 2194956"/>
                    <a:gd name="connsiteX6" fmla="*/ 1089208 w 1112393"/>
                    <a:gd name="connsiteY6" fmla="*/ 702296 h 2194956"/>
                    <a:gd name="connsiteX7" fmla="*/ 1089208 w 1112393"/>
                    <a:gd name="connsiteY7" fmla="*/ 960493 h 2194956"/>
                    <a:gd name="connsiteX8" fmla="*/ 1089208 w 1112393"/>
                    <a:gd name="connsiteY8" fmla="*/ 1515535 h 2194956"/>
                    <a:gd name="connsiteX9" fmla="*/ 776208 w 1112393"/>
                    <a:gd name="connsiteY9" fmla="*/ 1960526 h 2194956"/>
                    <a:gd name="connsiteX10" fmla="*/ 221534 w 1112393"/>
                    <a:gd name="connsiteY10" fmla="*/ 2174813 h 2194956"/>
                    <a:gd name="connsiteX11" fmla="*/ 205145 w 1112393"/>
                    <a:gd name="connsiteY11" fmla="*/ 2185889 h 2194956"/>
                    <a:gd name="connsiteX12" fmla="*/ 188728 w 1112393"/>
                    <a:gd name="connsiteY12" fmla="*/ 2185889 h 2194956"/>
                    <a:gd name="connsiteX13" fmla="*/ 166548 w 1112393"/>
                    <a:gd name="connsiteY13" fmla="*/ 2185889 h 2194956"/>
                    <a:gd name="connsiteX14" fmla="*/ 106275 w 1112393"/>
                    <a:gd name="connsiteY14" fmla="*/ 2185889 h 2194956"/>
                    <a:gd name="connsiteX15" fmla="*/ 51289 w 1112393"/>
                    <a:gd name="connsiteY15" fmla="*/ 2152634 h 2194956"/>
                    <a:gd name="connsiteX16" fmla="*/ 29559 w 1112393"/>
                    <a:gd name="connsiteY16" fmla="*/ 2092280 h 2194956"/>
                    <a:gd name="connsiteX17" fmla="*/ 2065 w 1112393"/>
                    <a:gd name="connsiteY17" fmla="*/ 2015538 h 2194956"/>
                    <a:gd name="connsiteX18" fmla="*/ 34873 w 1112393"/>
                    <a:gd name="connsiteY18" fmla="*/ 1927692 h 2194956"/>
                    <a:gd name="connsiteX19" fmla="*/ 111590 w 1112393"/>
                    <a:gd name="connsiteY19" fmla="*/ 1900173 h 2194956"/>
                    <a:gd name="connsiteX20" fmla="*/ 358974 w 1112393"/>
                    <a:gd name="connsiteY20" fmla="*/ 1806565 h 2194956"/>
                    <a:gd name="connsiteX21" fmla="*/ 754032 w 1112393"/>
                    <a:gd name="connsiteY21" fmla="*/ 1565206 h 2194956"/>
                    <a:gd name="connsiteX22" fmla="*/ 787285 w 1112393"/>
                    <a:gd name="connsiteY22" fmla="*/ 1031922 h 2194956"/>
                    <a:gd name="connsiteX23" fmla="*/ 216221 w 1112393"/>
                    <a:gd name="connsiteY23" fmla="*/ 1031922 h 2194956"/>
                    <a:gd name="connsiteX24" fmla="*/ 128428 w 1112393"/>
                    <a:gd name="connsiteY24" fmla="*/ 1031922 h 2194956"/>
                    <a:gd name="connsiteX25" fmla="*/ 62366 w 1112393"/>
                    <a:gd name="connsiteY25" fmla="*/ 966281 h 2194956"/>
                    <a:gd name="connsiteX26" fmla="*/ 62366 w 1112393"/>
                    <a:gd name="connsiteY26" fmla="*/ 878435 h 2194956"/>
                    <a:gd name="connsiteX27" fmla="*/ 62366 w 1112393"/>
                    <a:gd name="connsiteY27" fmla="*/ 164566 h 2194956"/>
                    <a:gd name="connsiteX28" fmla="*/ 62366 w 1112393"/>
                    <a:gd name="connsiteY28" fmla="*/ 76721 h 2194956"/>
                    <a:gd name="connsiteX29" fmla="*/ 128428 w 1112393"/>
                    <a:gd name="connsiteY29" fmla="*/ 5291 h 2194956"/>
                    <a:gd name="connsiteX30" fmla="*/ 216221 w 1112393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5291 h 2194956"/>
                    <a:gd name="connsiteX1" fmla="*/ 927552 w 1110328"/>
                    <a:gd name="connsiteY1" fmla="*/ 5291 h 2194956"/>
                    <a:gd name="connsiteX2" fmla="*/ 1015319 w 1110328"/>
                    <a:gd name="connsiteY2" fmla="*/ 5291 h 2194956"/>
                    <a:gd name="connsiteX3" fmla="*/ 1087143 w 1110328"/>
                    <a:gd name="connsiteY3" fmla="*/ 76721 h 2194956"/>
                    <a:gd name="connsiteX4" fmla="*/ 1087143 w 1110328"/>
                    <a:gd name="connsiteY4" fmla="*/ 164566 h 2194956"/>
                    <a:gd name="connsiteX5" fmla="*/ 1087143 w 1110328"/>
                    <a:gd name="connsiteY5" fmla="*/ 680565 h 2194956"/>
                    <a:gd name="connsiteX6" fmla="*/ 1087143 w 1110328"/>
                    <a:gd name="connsiteY6" fmla="*/ 702296 h 2194956"/>
                    <a:gd name="connsiteX7" fmla="*/ 1087143 w 1110328"/>
                    <a:gd name="connsiteY7" fmla="*/ 960493 h 2194956"/>
                    <a:gd name="connsiteX8" fmla="*/ 1087143 w 1110328"/>
                    <a:gd name="connsiteY8" fmla="*/ 1515535 h 2194956"/>
                    <a:gd name="connsiteX9" fmla="*/ 774143 w 1110328"/>
                    <a:gd name="connsiteY9" fmla="*/ 1960526 h 2194956"/>
                    <a:gd name="connsiteX10" fmla="*/ 219469 w 1110328"/>
                    <a:gd name="connsiteY10" fmla="*/ 2174813 h 2194956"/>
                    <a:gd name="connsiteX11" fmla="*/ 203080 w 1110328"/>
                    <a:gd name="connsiteY11" fmla="*/ 2185889 h 2194956"/>
                    <a:gd name="connsiteX12" fmla="*/ 186663 w 1110328"/>
                    <a:gd name="connsiteY12" fmla="*/ 2185889 h 2194956"/>
                    <a:gd name="connsiteX13" fmla="*/ 164483 w 1110328"/>
                    <a:gd name="connsiteY13" fmla="*/ 2185889 h 2194956"/>
                    <a:gd name="connsiteX14" fmla="*/ 104210 w 1110328"/>
                    <a:gd name="connsiteY14" fmla="*/ 2185889 h 2194956"/>
                    <a:gd name="connsiteX15" fmla="*/ 49224 w 1110328"/>
                    <a:gd name="connsiteY15" fmla="*/ 2152634 h 2194956"/>
                    <a:gd name="connsiteX16" fmla="*/ 27494 w 1110328"/>
                    <a:gd name="connsiteY16" fmla="*/ 2092280 h 2194956"/>
                    <a:gd name="connsiteX17" fmla="*/ 0 w 1110328"/>
                    <a:gd name="connsiteY17" fmla="*/ 2015538 h 2194956"/>
                    <a:gd name="connsiteX18" fmla="*/ 32808 w 1110328"/>
                    <a:gd name="connsiteY18" fmla="*/ 1927692 h 2194956"/>
                    <a:gd name="connsiteX19" fmla="*/ 109525 w 1110328"/>
                    <a:gd name="connsiteY19" fmla="*/ 1900173 h 2194956"/>
                    <a:gd name="connsiteX20" fmla="*/ 356909 w 1110328"/>
                    <a:gd name="connsiteY20" fmla="*/ 1806565 h 2194956"/>
                    <a:gd name="connsiteX21" fmla="*/ 751967 w 1110328"/>
                    <a:gd name="connsiteY21" fmla="*/ 1565206 h 2194956"/>
                    <a:gd name="connsiteX22" fmla="*/ 785220 w 1110328"/>
                    <a:gd name="connsiteY22" fmla="*/ 1031922 h 2194956"/>
                    <a:gd name="connsiteX23" fmla="*/ 214156 w 1110328"/>
                    <a:gd name="connsiteY23" fmla="*/ 1031922 h 2194956"/>
                    <a:gd name="connsiteX24" fmla="*/ 126363 w 1110328"/>
                    <a:gd name="connsiteY24" fmla="*/ 1031922 h 2194956"/>
                    <a:gd name="connsiteX25" fmla="*/ 60301 w 1110328"/>
                    <a:gd name="connsiteY25" fmla="*/ 966281 h 2194956"/>
                    <a:gd name="connsiteX26" fmla="*/ 60301 w 1110328"/>
                    <a:gd name="connsiteY26" fmla="*/ 878435 h 2194956"/>
                    <a:gd name="connsiteX27" fmla="*/ 60301 w 1110328"/>
                    <a:gd name="connsiteY27" fmla="*/ 164566 h 2194956"/>
                    <a:gd name="connsiteX28" fmla="*/ 60301 w 1110328"/>
                    <a:gd name="connsiteY28" fmla="*/ 76721 h 2194956"/>
                    <a:gd name="connsiteX29" fmla="*/ 126363 w 1110328"/>
                    <a:gd name="connsiteY29" fmla="*/ 5291 h 2194956"/>
                    <a:gd name="connsiteX30" fmla="*/ 214156 w 1110328"/>
                    <a:gd name="connsiteY30" fmla="*/ 5291 h 2194956"/>
                    <a:gd name="connsiteX0" fmla="*/ 214156 w 1110328"/>
                    <a:gd name="connsiteY0" fmla="*/ 9224 h 2198889"/>
                    <a:gd name="connsiteX1" fmla="*/ 927552 w 1110328"/>
                    <a:gd name="connsiteY1" fmla="*/ 9224 h 2198889"/>
                    <a:gd name="connsiteX2" fmla="*/ 1015319 w 1110328"/>
                    <a:gd name="connsiteY2" fmla="*/ 9224 h 2198889"/>
                    <a:gd name="connsiteX3" fmla="*/ 1087143 w 1110328"/>
                    <a:gd name="connsiteY3" fmla="*/ 80654 h 2198889"/>
                    <a:gd name="connsiteX4" fmla="*/ 1087143 w 1110328"/>
                    <a:gd name="connsiteY4" fmla="*/ 168499 h 2198889"/>
                    <a:gd name="connsiteX5" fmla="*/ 1087143 w 1110328"/>
                    <a:gd name="connsiteY5" fmla="*/ 684498 h 2198889"/>
                    <a:gd name="connsiteX6" fmla="*/ 1087143 w 1110328"/>
                    <a:gd name="connsiteY6" fmla="*/ 706229 h 2198889"/>
                    <a:gd name="connsiteX7" fmla="*/ 1087143 w 1110328"/>
                    <a:gd name="connsiteY7" fmla="*/ 964426 h 2198889"/>
                    <a:gd name="connsiteX8" fmla="*/ 1087143 w 1110328"/>
                    <a:gd name="connsiteY8" fmla="*/ 1519468 h 2198889"/>
                    <a:gd name="connsiteX9" fmla="*/ 774143 w 1110328"/>
                    <a:gd name="connsiteY9" fmla="*/ 1964459 h 2198889"/>
                    <a:gd name="connsiteX10" fmla="*/ 219469 w 1110328"/>
                    <a:gd name="connsiteY10" fmla="*/ 2178746 h 2198889"/>
                    <a:gd name="connsiteX11" fmla="*/ 203080 w 1110328"/>
                    <a:gd name="connsiteY11" fmla="*/ 2189822 h 2198889"/>
                    <a:gd name="connsiteX12" fmla="*/ 186663 w 1110328"/>
                    <a:gd name="connsiteY12" fmla="*/ 2189822 h 2198889"/>
                    <a:gd name="connsiteX13" fmla="*/ 164483 w 1110328"/>
                    <a:gd name="connsiteY13" fmla="*/ 2189822 h 2198889"/>
                    <a:gd name="connsiteX14" fmla="*/ 104210 w 1110328"/>
                    <a:gd name="connsiteY14" fmla="*/ 2189822 h 2198889"/>
                    <a:gd name="connsiteX15" fmla="*/ 49224 w 1110328"/>
                    <a:gd name="connsiteY15" fmla="*/ 2156567 h 2198889"/>
                    <a:gd name="connsiteX16" fmla="*/ 27494 w 1110328"/>
                    <a:gd name="connsiteY16" fmla="*/ 2096213 h 2198889"/>
                    <a:gd name="connsiteX17" fmla="*/ 0 w 1110328"/>
                    <a:gd name="connsiteY17" fmla="*/ 2019471 h 2198889"/>
                    <a:gd name="connsiteX18" fmla="*/ 32808 w 1110328"/>
                    <a:gd name="connsiteY18" fmla="*/ 1931625 h 2198889"/>
                    <a:gd name="connsiteX19" fmla="*/ 109525 w 1110328"/>
                    <a:gd name="connsiteY19" fmla="*/ 1904106 h 2198889"/>
                    <a:gd name="connsiteX20" fmla="*/ 356909 w 1110328"/>
                    <a:gd name="connsiteY20" fmla="*/ 1810498 h 2198889"/>
                    <a:gd name="connsiteX21" fmla="*/ 751967 w 1110328"/>
                    <a:gd name="connsiteY21" fmla="*/ 1569139 h 2198889"/>
                    <a:gd name="connsiteX22" fmla="*/ 785220 w 1110328"/>
                    <a:gd name="connsiteY22" fmla="*/ 1035855 h 2198889"/>
                    <a:gd name="connsiteX23" fmla="*/ 214156 w 1110328"/>
                    <a:gd name="connsiteY23" fmla="*/ 1035855 h 2198889"/>
                    <a:gd name="connsiteX24" fmla="*/ 126363 w 1110328"/>
                    <a:gd name="connsiteY24" fmla="*/ 1035855 h 2198889"/>
                    <a:gd name="connsiteX25" fmla="*/ 60301 w 1110328"/>
                    <a:gd name="connsiteY25" fmla="*/ 970214 h 2198889"/>
                    <a:gd name="connsiteX26" fmla="*/ 60301 w 1110328"/>
                    <a:gd name="connsiteY26" fmla="*/ 882368 h 2198889"/>
                    <a:gd name="connsiteX27" fmla="*/ 60301 w 1110328"/>
                    <a:gd name="connsiteY27" fmla="*/ 168499 h 2198889"/>
                    <a:gd name="connsiteX28" fmla="*/ 60301 w 1110328"/>
                    <a:gd name="connsiteY28" fmla="*/ 80654 h 2198889"/>
                    <a:gd name="connsiteX29" fmla="*/ 126363 w 1110328"/>
                    <a:gd name="connsiteY29" fmla="*/ 9224 h 2198889"/>
                    <a:gd name="connsiteX30" fmla="*/ 214156 w 1110328"/>
                    <a:gd name="connsiteY30" fmla="*/ 9224 h 2198889"/>
                    <a:gd name="connsiteX0" fmla="*/ 214156 w 1110328"/>
                    <a:gd name="connsiteY0" fmla="*/ 5292 h 2194957"/>
                    <a:gd name="connsiteX1" fmla="*/ 927552 w 1110328"/>
                    <a:gd name="connsiteY1" fmla="*/ 5292 h 2194957"/>
                    <a:gd name="connsiteX2" fmla="*/ 1015319 w 1110328"/>
                    <a:gd name="connsiteY2" fmla="*/ 5292 h 2194957"/>
                    <a:gd name="connsiteX3" fmla="*/ 1087143 w 1110328"/>
                    <a:gd name="connsiteY3" fmla="*/ 76722 h 2194957"/>
                    <a:gd name="connsiteX4" fmla="*/ 1087143 w 1110328"/>
                    <a:gd name="connsiteY4" fmla="*/ 164567 h 2194957"/>
                    <a:gd name="connsiteX5" fmla="*/ 1087143 w 1110328"/>
                    <a:gd name="connsiteY5" fmla="*/ 680566 h 2194957"/>
                    <a:gd name="connsiteX6" fmla="*/ 1087143 w 1110328"/>
                    <a:gd name="connsiteY6" fmla="*/ 702297 h 2194957"/>
                    <a:gd name="connsiteX7" fmla="*/ 1087143 w 1110328"/>
                    <a:gd name="connsiteY7" fmla="*/ 960494 h 2194957"/>
                    <a:gd name="connsiteX8" fmla="*/ 1087143 w 1110328"/>
                    <a:gd name="connsiteY8" fmla="*/ 1515536 h 2194957"/>
                    <a:gd name="connsiteX9" fmla="*/ 774143 w 1110328"/>
                    <a:gd name="connsiteY9" fmla="*/ 1960527 h 2194957"/>
                    <a:gd name="connsiteX10" fmla="*/ 219469 w 1110328"/>
                    <a:gd name="connsiteY10" fmla="*/ 2174814 h 2194957"/>
                    <a:gd name="connsiteX11" fmla="*/ 203080 w 1110328"/>
                    <a:gd name="connsiteY11" fmla="*/ 2185890 h 2194957"/>
                    <a:gd name="connsiteX12" fmla="*/ 186663 w 1110328"/>
                    <a:gd name="connsiteY12" fmla="*/ 2185890 h 2194957"/>
                    <a:gd name="connsiteX13" fmla="*/ 164483 w 1110328"/>
                    <a:gd name="connsiteY13" fmla="*/ 2185890 h 2194957"/>
                    <a:gd name="connsiteX14" fmla="*/ 104210 w 1110328"/>
                    <a:gd name="connsiteY14" fmla="*/ 2185890 h 2194957"/>
                    <a:gd name="connsiteX15" fmla="*/ 49224 w 1110328"/>
                    <a:gd name="connsiteY15" fmla="*/ 2152635 h 2194957"/>
                    <a:gd name="connsiteX16" fmla="*/ 27494 w 1110328"/>
                    <a:gd name="connsiteY16" fmla="*/ 2092281 h 2194957"/>
                    <a:gd name="connsiteX17" fmla="*/ 0 w 1110328"/>
                    <a:gd name="connsiteY17" fmla="*/ 2015539 h 2194957"/>
                    <a:gd name="connsiteX18" fmla="*/ 32808 w 1110328"/>
                    <a:gd name="connsiteY18" fmla="*/ 1927693 h 2194957"/>
                    <a:gd name="connsiteX19" fmla="*/ 109525 w 1110328"/>
                    <a:gd name="connsiteY19" fmla="*/ 1900174 h 2194957"/>
                    <a:gd name="connsiteX20" fmla="*/ 356909 w 1110328"/>
                    <a:gd name="connsiteY20" fmla="*/ 1806566 h 2194957"/>
                    <a:gd name="connsiteX21" fmla="*/ 751967 w 1110328"/>
                    <a:gd name="connsiteY21" fmla="*/ 1565207 h 2194957"/>
                    <a:gd name="connsiteX22" fmla="*/ 785220 w 1110328"/>
                    <a:gd name="connsiteY22" fmla="*/ 1031923 h 2194957"/>
                    <a:gd name="connsiteX23" fmla="*/ 214156 w 1110328"/>
                    <a:gd name="connsiteY23" fmla="*/ 1031923 h 2194957"/>
                    <a:gd name="connsiteX24" fmla="*/ 126363 w 1110328"/>
                    <a:gd name="connsiteY24" fmla="*/ 1031923 h 2194957"/>
                    <a:gd name="connsiteX25" fmla="*/ 60301 w 1110328"/>
                    <a:gd name="connsiteY25" fmla="*/ 966282 h 2194957"/>
                    <a:gd name="connsiteX26" fmla="*/ 60301 w 1110328"/>
                    <a:gd name="connsiteY26" fmla="*/ 878436 h 2194957"/>
                    <a:gd name="connsiteX27" fmla="*/ 60301 w 1110328"/>
                    <a:gd name="connsiteY27" fmla="*/ 164567 h 2194957"/>
                    <a:gd name="connsiteX28" fmla="*/ 60301 w 1110328"/>
                    <a:gd name="connsiteY28" fmla="*/ 76722 h 2194957"/>
                    <a:gd name="connsiteX29" fmla="*/ 126363 w 1110328"/>
                    <a:gd name="connsiteY29" fmla="*/ 5292 h 2194957"/>
                    <a:gd name="connsiteX30" fmla="*/ 214156 w 1110328"/>
                    <a:gd name="connsiteY30" fmla="*/ 5292 h 2194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1110328" h="2194957">
                      <a:moveTo>
                        <a:pt x="214156" y="5292"/>
                      </a:moveTo>
                      <a:lnTo>
                        <a:pt x="927552" y="5292"/>
                      </a:lnTo>
                      <a:cubicBezTo>
                        <a:pt x="1061079" y="5292"/>
                        <a:pt x="988721" y="-6613"/>
                        <a:pt x="1015319" y="5292"/>
                      </a:cubicBezTo>
                      <a:cubicBezTo>
                        <a:pt x="1041917" y="17197"/>
                        <a:pt x="1087143" y="47602"/>
                        <a:pt x="1087143" y="76722"/>
                      </a:cubicBezTo>
                      <a:lnTo>
                        <a:pt x="1087143" y="164567"/>
                      </a:lnTo>
                      <a:lnTo>
                        <a:pt x="1087143" y="680566"/>
                      </a:lnTo>
                      <a:lnTo>
                        <a:pt x="1087143" y="702297"/>
                      </a:lnTo>
                      <a:lnTo>
                        <a:pt x="1087143" y="960494"/>
                      </a:lnTo>
                      <a:cubicBezTo>
                        <a:pt x="1087143" y="1096034"/>
                        <a:pt x="1139310" y="1348864"/>
                        <a:pt x="1087143" y="1515536"/>
                      </a:cubicBezTo>
                      <a:cubicBezTo>
                        <a:pt x="1034976" y="1682208"/>
                        <a:pt x="943561" y="1895076"/>
                        <a:pt x="774143" y="1960527"/>
                      </a:cubicBezTo>
                      <a:lnTo>
                        <a:pt x="219469" y="2174814"/>
                      </a:lnTo>
                      <a:cubicBezTo>
                        <a:pt x="124292" y="2212375"/>
                        <a:pt x="208851" y="2185890"/>
                        <a:pt x="203080" y="2185890"/>
                      </a:cubicBezTo>
                      <a:lnTo>
                        <a:pt x="186663" y="2185890"/>
                      </a:lnTo>
                      <a:lnTo>
                        <a:pt x="164483" y="2185890"/>
                      </a:lnTo>
                      <a:cubicBezTo>
                        <a:pt x="150741" y="2185890"/>
                        <a:pt x="121318" y="2196237"/>
                        <a:pt x="104210" y="2185890"/>
                      </a:cubicBezTo>
                      <a:lnTo>
                        <a:pt x="49224" y="2152635"/>
                      </a:lnTo>
                      <a:cubicBezTo>
                        <a:pt x="36438" y="2137034"/>
                        <a:pt x="35682" y="2115136"/>
                        <a:pt x="27494" y="2092281"/>
                      </a:cubicBezTo>
                      <a:lnTo>
                        <a:pt x="0" y="2015539"/>
                      </a:lnTo>
                      <a:cubicBezTo>
                        <a:pt x="886" y="1988108"/>
                        <a:pt x="7853" y="1936645"/>
                        <a:pt x="32808" y="1927693"/>
                      </a:cubicBezTo>
                      <a:lnTo>
                        <a:pt x="109525" y="1900174"/>
                      </a:lnTo>
                      <a:cubicBezTo>
                        <a:pt x="163542" y="1879986"/>
                        <a:pt x="253864" y="1869521"/>
                        <a:pt x="356909" y="1806566"/>
                      </a:cubicBezTo>
                      <a:lnTo>
                        <a:pt x="751967" y="1565207"/>
                      </a:lnTo>
                      <a:cubicBezTo>
                        <a:pt x="823352" y="1436100"/>
                        <a:pt x="911451" y="1031923"/>
                        <a:pt x="785220" y="1031923"/>
                      </a:cubicBezTo>
                      <a:lnTo>
                        <a:pt x="214156" y="1031923"/>
                      </a:lnTo>
                      <a:cubicBezTo>
                        <a:pt x="104347" y="1031923"/>
                        <a:pt x="152006" y="1042863"/>
                        <a:pt x="126363" y="1031923"/>
                      </a:cubicBezTo>
                      <a:cubicBezTo>
                        <a:pt x="100721" y="1020983"/>
                        <a:pt x="60301" y="994132"/>
                        <a:pt x="60301" y="966282"/>
                      </a:cubicBezTo>
                      <a:lnTo>
                        <a:pt x="60301" y="878436"/>
                      </a:lnTo>
                      <a:lnTo>
                        <a:pt x="60301" y="164567"/>
                      </a:lnTo>
                      <a:cubicBezTo>
                        <a:pt x="60301" y="30948"/>
                        <a:pt x="40788" y="97820"/>
                        <a:pt x="60301" y="76722"/>
                      </a:cubicBezTo>
                      <a:lnTo>
                        <a:pt x="126363" y="5292"/>
                      </a:lnTo>
                      <a:cubicBezTo>
                        <a:pt x="152005" y="-6613"/>
                        <a:pt x="80625" y="5292"/>
                        <a:pt x="214156" y="5292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 w="6350" cap="sq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400"/>
                    </a:spcBef>
                    <a:spcAft>
                      <a:spcPts val="400"/>
                    </a:spcAft>
                  </a:pPr>
                  <a:endParaRPr lang="en-US" sz="2133" dirty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261" name="PlusSign" hidden="1">
            <a:extLst>
              <a:ext uri="{FF2B5EF4-FFF2-40B4-BE49-F238E27FC236}">
                <a16:creationId xmlns:a16="http://schemas.microsoft.com/office/drawing/2014/main" id="{22B1D5D0-564B-4776-9F96-9662BE675CBD}"/>
              </a:ext>
            </a:extLst>
          </p:cNvPr>
          <p:cNvSpPr>
            <a:spLocks noChangeAspect="1"/>
          </p:cNvSpPr>
          <p:nvPr userDrawn="1">
            <p:custDataLst>
              <p:tags r:id="rId46"/>
            </p:custDataLst>
          </p:nvPr>
        </p:nvSpPr>
        <p:spPr>
          <a:xfrm>
            <a:off x="13958711" y="8358293"/>
            <a:ext cx="405687" cy="405688"/>
          </a:xfrm>
          <a:custGeom>
            <a:avLst/>
            <a:gdLst/>
            <a:ahLst/>
            <a:cxnLst/>
            <a:rect l="0" t="0" r="0" b="0"/>
            <a:pathLst>
              <a:path w="251458" h="251459">
                <a:moveTo>
                  <a:pt x="251457" y="125729"/>
                </a:moveTo>
                <a:lnTo>
                  <a:pt x="251457" y="128416"/>
                </a:lnTo>
                <a:lnTo>
                  <a:pt x="249317" y="130557"/>
                </a:lnTo>
                <a:lnTo>
                  <a:pt x="246630" y="130557"/>
                </a:lnTo>
                <a:lnTo>
                  <a:pt x="130557" y="130557"/>
                </a:lnTo>
                <a:lnTo>
                  <a:pt x="130557" y="246630"/>
                </a:lnTo>
                <a:lnTo>
                  <a:pt x="130557" y="249317"/>
                </a:lnTo>
                <a:lnTo>
                  <a:pt x="128416" y="251458"/>
                </a:lnTo>
                <a:lnTo>
                  <a:pt x="125729" y="251458"/>
                </a:lnTo>
                <a:lnTo>
                  <a:pt x="123043" y="251458"/>
                </a:lnTo>
                <a:lnTo>
                  <a:pt x="120901" y="249317"/>
                </a:lnTo>
                <a:lnTo>
                  <a:pt x="120901" y="246630"/>
                </a:lnTo>
                <a:lnTo>
                  <a:pt x="120901" y="130557"/>
                </a:lnTo>
                <a:lnTo>
                  <a:pt x="4828" y="130557"/>
                </a:lnTo>
                <a:lnTo>
                  <a:pt x="2141" y="130557"/>
                </a:lnTo>
                <a:lnTo>
                  <a:pt x="0" y="128416"/>
                </a:lnTo>
                <a:lnTo>
                  <a:pt x="0" y="125729"/>
                </a:lnTo>
                <a:lnTo>
                  <a:pt x="0" y="123042"/>
                </a:lnTo>
                <a:lnTo>
                  <a:pt x="2141" y="120901"/>
                </a:lnTo>
                <a:lnTo>
                  <a:pt x="4828" y="120901"/>
                </a:lnTo>
                <a:lnTo>
                  <a:pt x="120901" y="120901"/>
                </a:lnTo>
                <a:lnTo>
                  <a:pt x="120901" y="4828"/>
                </a:lnTo>
                <a:lnTo>
                  <a:pt x="120901" y="2141"/>
                </a:lnTo>
                <a:lnTo>
                  <a:pt x="123043" y="0"/>
                </a:lnTo>
                <a:lnTo>
                  <a:pt x="125729" y="0"/>
                </a:lnTo>
                <a:lnTo>
                  <a:pt x="128416" y="0"/>
                </a:lnTo>
                <a:lnTo>
                  <a:pt x="130557" y="2141"/>
                </a:lnTo>
                <a:lnTo>
                  <a:pt x="130557" y="4828"/>
                </a:lnTo>
                <a:lnTo>
                  <a:pt x="130557" y="120901"/>
                </a:lnTo>
                <a:lnTo>
                  <a:pt x="246630" y="120901"/>
                </a:lnTo>
                <a:lnTo>
                  <a:pt x="249317" y="120901"/>
                </a:lnTo>
                <a:lnTo>
                  <a:pt x="251457" y="123042"/>
                </a:lnTo>
                <a:close/>
              </a:path>
            </a:pathLst>
          </a:cu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2133" dirty="0">
              <a:solidFill>
                <a:schemeClr val="bg1"/>
              </a:solidFill>
            </a:endParaRPr>
          </a:p>
        </p:txBody>
      </p:sp>
      <p:sp>
        <p:nvSpPr>
          <p:cNvPr id="262" name="X" hidden="1">
            <a:extLst>
              <a:ext uri="{FF2B5EF4-FFF2-40B4-BE49-F238E27FC236}">
                <a16:creationId xmlns:a16="http://schemas.microsoft.com/office/drawing/2014/main" id="{19E44688-D3FE-4860-A42F-E279385C0142}"/>
              </a:ext>
            </a:extLst>
          </p:cNvPr>
          <p:cNvSpPr>
            <a:spLocks noChangeAspect="1"/>
          </p:cNvSpPr>
          <p:nvPr userDrawn="1">
            <p:custDataLst>
              <p:tags r:id="rId47"/>
            </p:custDataLst>
          </p:nvPr>
        </p:nvSpPr>
        <p:spPr>
          <a:xfrm>
            <a:off x="14636045" y="5987627"/>
            <a:ext cx="245071" cy="244731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2133" dirty="0">
              <a:solidFill>
                <a:schemeClr val="bg1"/>
              </a:solidFill>
            </a:endParaRPr>
          </a:p>
        </p:txBody>
      </p:sp>
      <p:sp>
        <p:nvSpPr>
          <p:cNvPr id="263" name="EqualSign" hidden="1">
            <a:extLst>
              <a:ext uri="{FF2B5EF4-FFF2-40B4-BE49-F238E27FC236}">
                <a16:creationId xmlns:a16="http://schemas.microsoft.com/office/drawing/2014/main" id="{089FE138-12EF-474B-B294-697A2A0B71F9}"/>
              </a:ext>
            </a:extLst>
          </p:cNvPr>
          <p:cNvSpPr>
            <a:spLocks noChangeAspect="1"/>
          </p:cNvSpPr>
          <p:nvPr userDrawn="1">
            <p:custDataLst>
              <p:tags r:id="rId48"/>
            </p:custDataLst>
          </p:nvPr>
        </p:nvSpPr>
        <p:spPr>
          <a:xfrm>
            <a:off x="13281377" y="5818294"/>
            <a:ext cx="405672" cy="70436"/>
          </a:xfrm>
          <a:custGeom>
            <a:avLst/>
            <a:gdLst/>
            <a:ahLst/>
            <a:cxnLst/>
            <a:rect l="0" t="0" r="0" b="0"/>
            <a:pathLst>
              <a:path w="251459" h="43660">
                <a:moveTo>
                  <a:pt x="246630" y="43659"/>
                </a:moveTo>
                <a:lnTo>
                  <a:pt x="4828" y="43659"/>
                </a:lnTo>
                <a:lnTo>
                  <a:pt x="2141" y="43659"/>
                </a:lnTo>
                <a:lnTo>
                  <a:pt x="0" y="41518"/>
                </a:lnTo>
                <a:lnTo>
                  <a:pt x="0" y="38832"/>
                </a:lnTo>
                <a:lnTo>
                  <a:pt x="0" y="36144"/>
                </a:lnTo>
                <a:lnTo>
                  <a:pt x="2141" y="34003"/>
                </a:lnTo>
                <a:lnTo>
                  <a:pt x="4828" y="34003"/>
                </a:lnTo>
                <a:lnTo>
                  <a:pt x="246630" y="34003"/>
                </a:lnTo>
                <a:lnTo>
                  <a:pt x="249317" y="34003"/>
                </a:lnTo>
                <a:lnTo>
                  <a:pt x="251458" y="36144"/>
                </a:lnTo>
                <a:lnTo>
                  <a:pt x="251458" y="38832"/>
                </a:lnTo>
                <a:lnTo>
                  <a:pt x="251458" y="41518"/>
                </a:lnTo>
                <a:lnTo>
                  <a:pt x="249317" y="43659"/>
                </a:lnTo>
                <a:lnTo>
                  <a:pt x="246630" y="43659"/>
                </a:lnTo>
                <a:lnTo>
                  <a:pt x="251458" y="4829"/>
                </a:lnTo>
                <a:lnTo>
                  <a:pt x="251458" y="2142"/>
                </a:lnTo>
                <a:lnTo>
                  <a:pt x="249317" y="0"/>
                </a:lnTo>
                <a:lnTo>
                  <a:pt x="246630" y="0"/>
                </a:lnTo>
                <a:lnTo>
                  <a:pt x="4828" y="0"/>
                </a:lnTo>
                <a:lnTo>
                  <a:pt x="2141" y="0"/>
                </a:lnTo>
                <a:lnTo>
                  <a:pt x="0" y="2142"/>
                </a:lnTo>
                <a:lnTo>
                  <a:pt x="0" y="4829"/>
                </a:lnTo>
                <a:lnTo>
                  <a:pt x="0" y="7515"/>
                </a:lnTo>
                <a:lnTo>
                  <a:pt x="2141" y="9656"/>
                </a:lnTo>
                <a:lnTo>
                  <a:pt x="4828" y="9656"/>
                </a:lnTo>
                <a:lnTo>
                  <a:pt x="246630" y="9656"/>
                </a:lnTo>
                <a:lnTo>
                  <a:pt x="249317" y="9656"/>
                </a:lnTo>
                <a:lnTo>
                  <a:pt x="251458" y="7515"/>
                </a:lnTo>
                <a:lnTo>
                  <a:pt x="251458" y="4829"/>
                </a:lnTo>
              </a:path>
            </a:pathLst>
          </a:custGeom>
          <a:solidFill>
            <a:schemeClr val="bg2"/>
          </a:solidFill>
          <a:ln w="6350" cap="sq" cmpd="sng" algn="ctr">
            <a:noFill/>
            <a:prstDash val="solid"/>
            <a:miter lim="800000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64" name="MinusSign" hidden="1">
            <a:extLst>
              <a:ext uri="{FF2B5EF4-FFF2-40B4-BE49-F238E27FC236}">
                <a16:creationId xmlns:a16="http://schemas.microsoft.com/office/drawing/2014/main" id="{8F84DA86-45F9-46DB-A415-F42DA4219662}"/>
              </a:ext>
            </a:extLst>
          </p:cNvPr>
          <p:cNvSpPr>
            <a:spLocks noChangeAspect="1"/>
          </p:cNvSpPr>
          <p:nvPr userDrawn="1">
            <p:custDataLst>
              <p:tags r:id="rId49"/>
            </p:custDataLst>
          </p:nvPr>
        </p:nvSpPr>
        <p:spPr>
          <a:xfrm>
            <a:off x="14466711" y="4971627"/>
            <a:ext cx="423311" cy="16255"/>
          </a:xfrm>
          <a:custGeom>
            <a:avLst/>
            <a:gdLst/>
            <a:ahLst/>
            <a:cxnLst/>
            <a:rect l="0" t="0" r="0" b="0"/>
            <a:pathLst>
              <a:path w="251311" h="9650">
                <a:moveTo>
                  <a:pt x="246485" y="9649"/>
                </a:moveTo>
                <a:lnTo>
                  <a:pt x="4824" y="9649"/>
                </a:lnTo>
                <a:lnTo>
                  <a:pt x="2138" y="9649"/>
                </a:lnTo>
                <a:lnTo>
                  <a:pt x="0" y="7509"/>
                </a:lnTo>
                <a:lnTo>
                  <a:pt x="0" y="4825"/>
                </a:lnTo>
                <a:lnTo>
                  <a:pt x="0" y="2139"/>
                </a:lnTo>
                <a:lnTo>
                  <a:pt x="2138" y="0"/>
                </a:lnTo>
                <a:lnTo>
                  <a:pt x="4824" y="0"/>
                </a:lnTo>
                <a:lnTo>
                  <a:pt x="246485" y="0"/>
                </a:lnTo>
                <a:lnTo>
                  <a:pt x="249171" y="0"/>
                </a:lnTo>
                <a:lnTo>
                  <a:pt x="251310" y="2139"/>
                </a:lnTo>
                <a:lnTo>
                  <a:pt x="251310" y="4825"/>
                </a:lnTo>
                <a:lnTo>
                  <a:pt x="251310" y="7509"/>
                </a:lnTo>
                <a:lnTo>
                  <a:pt x="249171" y="9649"/>
                </a:lnTo>
                <a:close/>
              </a:path>
            </a:pathLst>
          </a:cu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2133" dirty="0">
              <a:solidFill>
                <a:schemeClr val="bg1"/>
              </a:solidFill>
            </a:endParaRPr>
          </a:p>
        </p:txBody>
      </p:sp>
      <p:grpSp>
        <p:nvGrpSpPr>
          <p:cNvPr id="265" name="PlusSignWhite" hidden="1">
            <a:extLst>
              <a:ext uri="{FF2B5EF4-FFF2-40B4-BE49-F238E27FC236}">
                <a16:creationId xmlns:a16="http://schemas.microsoft.com/office/drawing/2014/main" id="{D33F4788-076B-46BE-B3C8-B84BCDF093F0}"/>
              </a:ext>
            </a:extLst>
          </p:cNvPr>
          <p:cNvGrpSpPr>
            <a:grpSpLocks noChangeAspect="1"/>
          </p:cNvGrpSpPr>
          <p:nvPr userDrawn="1">
            <p:custDataLst>
              <p:tags r:id="rId50"/>
            </p:custDataLst>
          </p:nvPr>
        </p:nvGrpSpPr>
        <p:grpSpPr>
          <a:xfrm>
            <a:off x="14805377" y="3750733"/>
            <a:ext cx="528304" cy="528304"/>
            <a:chOff x="1016000" y="1016000"/>
            <a:chExt cx="396228" cy="396228"/>
          </a:xfrm>
        </p:grpSpPr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C401A9D6-5856-411F-BBAE-67F178EB9410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88C3DCEA-59F9-49AC-8CD5-6C3F8EF712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7707" y="1087707"/>
              <a:ext cx="251457" cy="251458"/>
            </a:xfrm>
            <a:custGeom>
              <a:avLst/>
              <a:gdLst/>
              <a:ahLst/>
              <a:cxnLst/>
              <a:rect l="0" t="0" r="0" b="0"/>
              <a:pathLst>
                <a:path w="251458" h="251459">
                  <a:moveTo>
                    <a:pt x="251457" y="125729"/>
                  </a:moveTo>
                  <a:lnTo>
                    <a:pt x="251457" y="128416"/>
                  </a:lnTo>
                  <a:lnTo>
                    <a:pt x="249317" y="130557"/>
                  </a:lnTo>
                  <a:lnTo>
                    <a:pt x="246630" y="130557"/>
                  </a:lnTo>
                  <a:lnTo>
                    <a:pt x="130557" y="130557"/>
                  </a:lnTo>
                  <a:lnTo>
                    <a:pt x="130557" y="246630"/>
                  </a:lnTo>
                  <a:lnTo>
                    <a:pt x="130557" y="249317"/>
                  </a:lnTo>
                  <a:lnTo>
                    <a:pt x="128416" y="251458"/>
                  </a:lnTo>
                  <a:lnTo>
                    <a:pt x="125729" y="251458"/>
                  </a:lnTo>
                  <a:lnTo>
                    <a:pt x="123043" y="251458"/>
                  </a:lnTo>
                  <a:lnTo>
                    <a:pt x="120901" y="249317"/>
                  </a:lnTo>
                  <a:lnTo>
                    <a:pt x="120901" y="246630"/>
                  </a:lnTo>
                  <a:lnTo>
                    <a:pt x="120901" y="130557"/>
                  </a:lnTo>
                  <a:lnTo>
                    <a:pt x="4828" y="130557"/>
                  </a:lnTo>
                  <a:lnTo>
                    <a:pt x="2141" y="130557"/>
                  </a:lnTo>
                  <a:lnTo>
                    <a:pt x="0" y="128416"/>
                  </a:lnTo>
                  <a:lnTo>
                    <a:pt x="0" y="125729"/>
                  </a:lnTo>
                  <a:lnTo>
                    <a:pt x="0" y="123042"/>
                  </a:lnTo>
                  <a:lnTo>
                    <a:pt x="2141" y="120901"/>
                  </a:lnTo>
                  <a:lnTo>
                    <a:pt x="4828" y="120901"/>
                  </a:lnTo>
                  <a:lnTo>
                    <a:pt x="120901" y="120901"/>
                  </a:lnTo>
                  <a:lnTo>
                    <a:pt x="120901" y="4828"/>
                  </a:lnTo>
                  <a:lnTo>
                    <a:pt x="120901" y="2141"/>
                  </a:lnTo>
                  <a:lnTo>
                    <a:pt x="123043" y="0"/>
                  </a:lnTo>
                  <a:lnTo>
                    <a:pt x="125729" y="0"/>
                  </a:lnTo>
                  <a:lnTo>
                    <a:pt x="128416" y="0"/>
                  </a:lnTo>
                  <a:lnTo>
                    <a:pt x="130557" y="2141"/>
                  </a:lnTo>
                  <a:lnTo>
                    <a:pt x="130557" y="4828"/>
                  </a:lnTo>
                  <a:lnTo>
                    <a:pt x="130557" y="120901"/>
                  </a:lnTo>
                  <a:lnTo>
                    <a:pt x="246630" y="120901"/>
                  </a:lnTo>
                  <a:lnTo>
                    <a:pt x="249317" y="120901"/>
                  </a:lnTo>
                  <a:lnTo>
                    <a:pt x="251457" y="123042"/>
                  </a:lnTo>
                  <a:close/>
                </a:path>
              </a:pathLst>
            </a:custGeom>
            <a:solidFill>
              <a:schemeClr val="bg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68" name="XWhite" hidden="1">
            <a:extLst>
              <a:ext uri="{FF2B5EF4-FFF2-40B4-BE49-F238E27FC236}">
                <a16:creationId xmlns:a16="http://schemas.microsoft.com/office/drawing/2014/main" id="{D42CCFC0-A342-4F32-AC15-DE1BFB7C3A3D}"/>
              </a:ext>
            </a:extLst>
          </p:cNvPr>
          <p:cNvGrpSpPr>
            <a:grpSpLocks noChangeAspect="1"/>
          </p:cNvGrpSpPr>
          <p:nvPr userDrawn="1">
            <p:custDataLst>
              <p:tags r:id="rId51"/>
            </p:custDataLst>
          </p:nvPr>
        </p:nvGrpSpPr>
        <p:grpSpPr>
          <a:xfrm>
            <a:off x="14805377" y="5140960"/>
            <a:ext cx="528304" cy="528304"/>
            <a:chOff x="1016000" y="1016000"/>
            <a:chExt cx="396228" cy="396228"/>
          </a:xfrm>
        </p:grpSpPr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0BC51D16-AB5F-4B85-8362-E1148D847285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88640121-CE74-4616-81E7-A08D79BCEFB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22638" y="1122553"/>
              <a:ext cx="183803" cy="183548"/>
            </a:xfrm>
            <a:custGeom>
              <a:avLst/>
              <a:gdLst/>
              <a:ahLst/>
              <a:cxnLst/>
              <a:rect l="0" t="0" r="0" b="0"/>
              <a:pathLst>
                <a:path w="183805" h="183550">
                  <a:moveTo>
                    <a:pt x="182094" y="175600"/>
                  </a:moveTo>
                  <a:lnTo>
                    <a:pt x="182094" y="175600"/>
                  </a:lnTo>
                  <a:lnTo>
                    <a:pt x="183804" y="177411"/>
                  </a:lnTo>
                  <a:lnTo>
                    <a:pt x="183804" y="180429"/>
                  </a:lnTo>
                  <a:lnTo>
                    <a:pt x="182094" y="182240"/>
                  </a:lnTo>
                  <a:lnTo>
                    <a:pt x="181189" y="183146"/>
                  </a:lnTo>
                  <a:lnTo>
                    <a:pt x="179982" y="183549"/>
                  </a:lnTo>
                  <a:lnTo>
                    <a:pt x="178776" y="183549"/>
                  </a:lnTo>
                  <a:lnTo>
                    <a:pt x="177569" y="183549"/>
                  </a:lnTo>
                  <a:lnTo>
                    <a:pt x="176362" y="183146"/>
                  </a:lnTo>
                  <a:lnTo>
                    <a:pt x="175457" y="182240"/>
                  </a:lnTo>
                  <a:lnTo>
                    <a:pt x="91903" y="98517"/>
                  </a:lnTo>
                  <a:lnTo>
                    <a:pt x="91903" y="98517"/>
                  </a:lnTo>
                  <a:lnTo>
                    <a:pt x="91903" y="98517"/>
                  </a:lnTo>
                  <a:lnTo>
                    <a:pt x="8345" y="182240"/>
                  </a:lnTo>
                  <a:lnTo>
                    <a:pt x="8345" y="182240"/>
                  </a:lnTo>
                  <a:lnTo>
                    <a:pt x="8345" y="182240"/>
                  </a:lnTo>
                  <a:lnTo>
                    <a:pt x="7441" y="183146"/>
                  </a:lnTo>
                  <a:lnTo>
                    <a:pt x="6235" y="183549"/>
                  </a:lnTo>
                  <a:lnTo>
                    <a:pt x="5027" y="183549"/>
                  </a:lnTo>
                  <a:lnTo>
                    <a:pt x="3822" y="183549"/>
                  </a:lnTo>
                  <a:lnTo>
                    <a:pt x="2614" y="183146"/>
                  </a:lnTo>
                  <a:lnTo>
                    <a:pt x="1708" y="182240"/>
                  </a:lnTo>
                  <a:lnTo>
                    <a:pt x="0" y="180429"/>
                  </a:lnTo>
                  <a:lnTo>
                    <a:pt x="0" y="177411"/>
                  </a:lnTo>
                  <a:lnTo>
                    <a:pt x="1708" y="175600"/>
                  </a:lnTo>
                  <a:lnTo>
                    <a:pt x="85366" y="91976"/>
                  </a:lnTo>
                  <a:lnTo>
                    <a:pt x="85366" y="91976"/>
                  </a:lnTo>
                  <a:lnTo>
                    <a:pt x="85366" y="91976"/>
                  </a:lnTo>
                  <a:lnTo>
                    <a:pt x="1708" y="8353"/>
                  </a:lnTo>
                  <a:lnTo>
                    <a:pt x="1708" y="8353"/>
                  </a:lnTo>
                  <a:lnTo>
                    <a:pt x="1708" y="8353"/>
                  </a:lnTo>
                  <a:lnTo>
                    <a:pt x="0" y="6542"/>
                  </a:lnTo>
                  <a:lnTo>
                    <a:pt x="0" y="3523"/>
                  </a:lnTo>
                  <a:lnTo>
                    <a:pt x="1708" y="1713"/>
                  </a:lnTo>
                  <a:lnTo>
                    <a:pt x="3520" y="0"/>
                  </a:lnTo>
                  <a:lnTo>
                    <a:pt x="6536" y="0"/>
                  </a:lnTo>
                  <a:lnTo>
                    <a:pt x="8345" y="1713"/>
                  </a:lnTo>
                  <a:lnTo>
                    <a:pt x="91903" y="85435"/>
                  </a:lnTo>
                  <a:lnTo>
                    <a:pt x="91903" y="85435"/>
                  </a:lnTo>
                  <a:lnTo>
                    <a:pt x="91903" y="85435"/>
                  </a:lnTo>
                  <a:lnTo>
                    <a:pt x="175457" y="1713"/>
                  </a:lnTo>
                  <a:lnTo>
                    <a:pt x="175457" y="1713"/>
                  </a:lnTo>
                  <a:lnTo>
                    <a:pt x="175457" y="1713"/>
                  </a:lnTo>
                  <a:lnTo>
                    <a:pt x="177267" y="0"/>
                  </a:lnTo>
                  <a:lnTo>
                    <a:pt x="180284" y="0"/>
                  </a:lnTo>
                  <a:lnTo>
                    <a:pt x="182094" y="1713"/>
                  </a:lnTo>
                  <a:lnTo>
                    <a:pt x="183804" y="3523"/>
                  </a:lnTo>
                  <a:lnTo>
                    <a:pt x="183804" y="6542"/>
                  </a:lnTo>
                  <a:lnTo>
                    <a:pt x="182094" y="8353"/>
                  </a:lnTo>
                  <a:lnTo>
                    <a:pt x="98437" y="91976"/>
                  </a:lnTo>
                  <a:lnTo>
                    <a:pt x="98437" y="91976"/>
                  </a:lnTo>
                  <a:lnTo>
                    <a:pt x="98437" y="91976"/>
                  </a:lnTo>
                  <a:close/>
                </a:path>
              </a:pathLst>
            </a:custGeom>
            <a:solidFill>
              <a:schemeClr val="bg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1" name="EqualSignWhite" hidden="1">
            <a:extLst>
              <a:ext uri="{FF2B5EF4-FFF2-40B4-BE49-F238E27FC236}">
                <a16:creationId xmlns:a16="http://schemas.microsoft.com/office/drawing/2014/main" id="{5E465E53-8CA5-49A3-BCBA-ED6918E5A8F1}"/>
              </a:ext>
            </a:extLst>
          </p:cNvPr>
          <p:cNvGrpSpPr>
            <a:grpSpLocks noChangeAspect="1"/>
          </p:cNvGrpSpPr>
          <p:nvPr userDrawn="1">
            <p:custDataLst>
              <p:tags r:id="rId52"/>
            </p:custDataLst>
          </p:nvPr>
        </p:nvGrpSpPr>
        <p:grpSpPr>
          <a:xfrm>
            <a:off x="14805377" y="6495627"/>
            <a:ext cx="528304" cy="528304"/>
            <a:chOff x="1016000" y="1016000"/>
            <a:chExt cx="396228" cy="396228"/>
          </a:xfrm>
        </p:grpSpPr>
        <p:sp>
          <p:nvSpPr>
            <p:cNvPr id="272" name="Oval 271">
              <a:extLst>
                <a:ext uri="{FF2B5EF4-FFF2-40B4-BE49-F238E27FC236}">
                  <a16:creationId xmlns:a16="http://schemas.microsoft.com/office/drawing/2014/main" id="{27FCCECD-91AE-4924-88EC-9E2BBDA70993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940343DB-1BFD-4340-B9A6-8B742356B7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7707" y="1191392"/>
              <a:ext cx="251446" cy="43658"/>
            </a:xfrm>
            <a:custGeom>
              <a:avLst/>
              <a:gdLst/>
              <a:ahLst/>
              <a:cxnLst/>
              <a:rect l="0" t="0" r="0" b="0"/>
              <a:pathLst>
                <a:path w="251459" h="43660">
                  <a:moveTo>
                    <a:pt x="246630" y="43659"/>
                  </a:moveTo>
                  <a:lnTo>
                    <a:pt x="4828" y="43659"/>
                  </a:lnTo>
                  <a:lnTo>
                    <a:pt x="2141" y="43659"/>
                  </a:lnTo>
                  <a:lnTo>
                    <a:pt x="0" y="41518"/>
                  </a:lnTo>
                  <a:lnTo>
                    <a:pt x="0" y="38832"/>
                  </a:lnTo>
                  <a:lnTo>
                    <a:pt x="0" y="36144"/>
                  </a:lnTo>
                  <a:lnTo>
                    <a:pt x="2141" y="34003"/>
                  </a:lnTo>
                  <a:lnTo>
                    <a:pt x="4828" y="34003"/>
                  </a:lnTo>
                  <a:lnTo>
                    <a:pt x="246630" y="34003"/>
                  </a:lnTo>
                  <a:lnTo>
                    <a:pt x="249317" y="34003"/>
                  </a:lnTo>
                  <a:lnTo>
                    <a:pt x="251458" y="36144"/>
                  </a:lnTo>
                  <a:lnTo>
                    <a:pt x="251458" y="38832"/>
                  </a:lnTo>
                  <a:lnTo>
                    <a:pt x="251458" y="41518"/>
                  </a:lnTo>
                  <a:lnTo>
                    <a:pt x="249317" y="43659"/>
                  </a:lnTo>
                  <a:lnTo>
                    <a:pt x="246630" y="43659"/>
                  </a:lnTo>
                  <a:lnTo>
                    <a:pt x="251458" y="4829"/>
                  </a:lnTo>
                  <a:lnTo>
                    <a:pt x="251458" y="2142"/>
                  </a:lnTo>
                  <a:lnTo>
                    <a:pt x="249317" y="0"/>
                  </a:lnTo>
                  <a:lnTo>
                    <a:pt x="246630" y="0"/>
                  </a:lnTo>
                  <a:lnTo>
                    <a:pt x="4828" y="0"/>
                  </a:lnTo>
                  <a:lnTo>
                    <a:pt x="2141" y="0"/>
                  </a:lnTo>
                  <a:lnTo>
                    <a:pt x="0" y="2142"/>
                  </a:lnTo>
                  <a:lnTo>
                    <a:pt x="0" y="4829"/>
                  </a:lnTo>
                  <a:lnTo>
                    <a:pt x="0" y="7515"/>
                  </a:lnTo>
                  <a:lnTo>
                    <a:pt x="2141" y="9656"/>
                  </a:lnTo>
                  <a:lnTo>
                    <a:pt x="4828" y="9656"/>
                  </a:lnTo>
                  <a:lnTo>
                    <a:pt x="246630" y="9656"/>
                  </a:lnTo>
                  <a:lnTo>
                    <a:pt x="249317" y="9656"/>
                  </a:lnTo>
                  <a:lnTo>
                    <a:pt x="251458" y="7515"/>
                  </a:lnTo>
                  <a:lnTo>
                    <a:pt x="251458" y="4829"/>
                  </a:lnTo>
                </a:path>
              </a:pathLst>
            </a:custGeom>
            <a:solidFill>
              <a:schemeClr val="bg2"/>
            </a:solidFill>
            <a:ln w="6350" cap="sq" cmpd="sng" algn="ctr">
              <a:noFill/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274" name="MinusSignWhite" hidden="1">
            <a:extLst>
              <a:ext uri="{FF2B5EF4-FFF2-40B4-BE49-F238E27FC236}">
                <a16:creationId xmlns:a16="http://schemas.microsoft.com/office/drawing/2014/main" id="{9116AABC-BEF8-40D9-A73A-94C4812DB574}"/>
              </a:ext>
            </a:extLst>
          </p:cNvPr>
          <p:cNvGrpSpPr>
            <a:grpSpLocks noChangeAspect="1"/>
          </p:cNvGrpSpPr>
          <p:nvPr userDrawn="1">
            <p:custDataLst>
              <p:tags r:id="rId53"/>
            </p:custDataLst>
          </p:nvPr>
        </p:nvGrpSpPr>
        <p:grpSpPr>
          <a:xfrm>
            <a:off x="14805377" y="7342293"/>
            <a:ext cx="528304" cy="528304"/>
            <a:chOff x="1016000" y="1016000"/>
            <a:chExt cx="396228" cy="396228"/>
          </a:xfrm>
        </p:grpSpPr>
        <p:sp>
          <p:nvSpPr>
            <p:cNvPr id="275" name="Oval 274">
              <a:extLst>
                <a:ext uri="{FF2B5EF4-FFF2-40B4-BE49-F238E27FC236}">
                  <a16:creationId xmlns:a16="http://schemas.microsoft.com/office/drawing/2014/main" id="{7B46648D-DA94-4712-84CC-F3430919BECE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C5A8E397-91F1-4044-B638-50DA2774C7D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7665" y="1208493"/>
              <a:ext cx="262225" cy="10069"/>
            </a:xfrm>
            <a:custGeom>
              <a:avLst/>
              <a:gdLst/>
              <a:ahLst/>
              <a:cxnLst/>
              <a:rect l="0" t="0" r="0" b="0"/>
              <a:pathLst>
                <a:path w="251311" h="9650">
                  <a:moveTo>
                    <a:pt x="246485" y="9649"/>
                  </a:moveTo>
                  <a:lnTo>
                    <a:pt x="4824" y="9649"/>
                  </a:lnTo>
                  <a:lnTo>
                    <a:pt x="2138" y="9649"/>
                  </a:lnTo>
                  <a:lnTo>
                    <a:pt x="0" y="7509"/>
                  </a:lnTo>
                  <a:lnTo>
                    <a:pt x="0" y="4825"/>
                  </a:lnTo>
                  <a:lnTo>
                    <a:pt x="0" y="2139"/>
                  </a:lnTo>
                  <a:lnTo>
                    <a:pt x="2138" y="0"/>
                  </a:lnTo>
                  <a:lnTo>
                    <a:pt x="4824" y="0"/>
                  </a:lnTo>
                  <a:lnTo>
                    <a:pt x="246485" y="0"/>
                  </a:lnTo>
                  <a:lnTo>
                    <a:pt x="249171" y="0"/>
                  </a:lnTo>
                  <a:lnTo>
                    <a:pt x="251310" y="2139"/>
                  </a:lnTo>
                  <a:lnTo>
                    <a:pt x="251310" y="4825"/>
                  </a:lnTo>
                  <a:lnTo>
                    <a:pt x="251310" y="7509"/>
                  </a:lnTo>
                  <a:lnTo>
                    <a:pt x="249171" y="9649"/>
                  </a:lnTo>
                  <a:close/>
                </a:path>
              </a:pathLst>
            </a:custGeom>
            <a:solidFill>
              <a:schemeClr val="bg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</p:grpSp>
      <p:sp>
        <p:nvSpPr>
          <p:cNvPr id="277" name="TrackerAlphaWhite" hidden="1">
            <a:extLst>
              <a:ext uri="{FF2B5EF4-FFF2-40B4-BE49-F238E27FC236}">
                <a16:creationId xmlns:a16="http://schemas.microsoft.com/office/drawing/2014/main" id="{C597815E-B116-4E1F-B7B4-97DAABCD80CD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8182187" y="1828800"/>
            <a:ext cx="372453" cy="372453"/>
          </a:xfrm>
          <a:prstGeom prst="ellipse">
            <a:avLst/>
          </a:prstGeom>
          <a:solidFill>
            <a:schemeClr val="bg1"/>
          </a:solidFill>
          <a:ln w="6350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400"/>
              </a:spcBef>
              <a:spcAft>
                <a:spcPts val="400"/>
              </a:spcAft>
            </a:pPr>
            <a:r>
              <a:rPr lang="en-US" sz="1867" dirty="0">
                <a:solidFill>
                  <a:schemeClr val="bg2"/>
                </a:solidFill>
              </a:rPr>
              <a:t>A</a:t>
            </a:r>
          </a:p>
        </p:txBody>
      </p:sp>
      <p:sp>
        <p:nvSpPr>
          <p:cNvPr id="278" name="TrackerAlphaBlue" hidden="1">
            <a:extLst>
              <a:ext uri="{FF2B5EF4-FFF2-40B4-BE49-F238E27FC236}">
                <a16:creationId xmlns:a16="http://schemas.microsoft.com/office/drawing/2014/main" id="{93A944BE-3A65-4876-B8CC-1F531DF54D52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9157547" y="1828800"/>
            <a:ext cx="372453" cy="372453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400"/>
              </a:spcBef>
              <a:spcAft>
                <a:spcPts val="400"/>
              </a:spcAft>
            </a:pPr>
            <a:r>
              <a:rPr lang="en-US" sz="1867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279" name="TrackerNumWhite" hidden="1">
            <a:extLst>
              <a:ext uri="{FF2B5EF4-FFF2-40B4-BE49-F238E27FC236}">
                <a16:creationId xmlns:a16="http://schemas.microsoft.com/office/drawing/2014/main" id="{ABAFFBD6-051E-426F-A7E5-05772F0ECA58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10132907" y="1828800"/>
            <a:ext cx="372453" cy="372453"/>
          </a:xfrm>
          <a:prstGeom prst="ellipse">
            <a:avLst/>
          </a:prstGeom>
          <a:solidFill>
            <a:schemeClr val="bg1"/>
          </a:solidFill>
          <a:ln w="6350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400"/>
              </a:spcBef>
              <a:spcAft>
                <a:spcPts val="400"/>
              </a:spcAft>
            </a:pPr>
            <a:r>
              <a:rPr lang="en-US" sz="1867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80" name="TrackerNumBlue" hidden="1">
            <a:extLst>
              <a:ext uri="{FF2B5EF4-FFF2-40B4-BE49-F238E27FC236}">
                <a16:creationId xmlns:a16="http://schemas.microsoft.com/office/drawing/2014/main" id="{645290FD-D7A5-48F5-9986-8382E13DAAB6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11108267" y="1828800"/>
            <a:ext cx="372453" cy="372453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400"/>
              </a:spcBef>
              <a:spcAft>
                <a:spcPts val="400"/>
              </a:spcAft>
            </a:pPr>
            <a:r>
              <a:rPr lang="en-US" sz="1867" dirty="0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281" name="CheckmarkDashWhite" hidden="1">
            <a:extLst>
              <a:ext uri="{FF2B5EF4-FFF2-40B4-BE49-F238E27FC236}">
                <a16:creationId xmlns:a16="http://schemas.microsoft.com/office/drawing/2014/main" id="{D4C8FE41-D9F7-4F25-8AE0-0B928B8E3DBB}"/>
              </a:ext>
            </a:extLst>
          </p:cNvPr>
          <p:cNvGrpSpPr>
            <a:grpSpLocks noChangeAspect="1"/>
          </p:cNvGrpSpPr>
          <p:nvPr userDrawn="1">
            <p:custDataLst>
              <p:tags r:id="rId58"/>
            </p:custDataLst>
          </p:nvPr>
        </p:nvGrpSpPr>
        <p:grpSpPr>
          <a:xfrm>
            <a:off x="12345247" y="5167207"/>
            <a:ext cx="528304" cy="528304"/>
            <a:chOff x="1016000" y="1016000"/>
            <a:chExt cx="396228" cy="396228"/>
          </a:xfrm>
        </p:grpSpPr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3BC2B927-9BCE-4F90-8545-CECC419A13EA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bg2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2133" dirty="0">
                <a:solidFill>
                  <a:schemeClr val="bg1"/>
                </a:solidFill>
              </a:endParaRPr>
            </a:p>
          </p:txBody>
        </p:sp>
        <p:pic>
          <p:nvPicPr>
            <p:cNvPr id="283" name="Graphic 282">
              <a:extLst>
                <a:ext uri="{FF2B5EF4-FFF2-40B4-BE49-F238E27FC236}">
                  <a16:creationId xmlns:a16="http://schemas.microsoft.com/office/drawing/2014/main" id="{C348F850-1838-4D80-88B9-6205A67AF736}"/>
                </a:ext>
              </a:extLst>
            </p:cNvPr>
            <p:cNvPicPr>
              <a:picLocks noChangeAspect="1"/>
            </p:cNvPicPr>
            <p:nvPr/>
          </p:nvPicPr>
          <p:blipFill>
            <a:blip r:embed="rId71">
              <a:extLst>
                <a:ext uri="{96DAC541-7B7A-43D3-8B79-37D633B846F1}">
                  <asvg:svgBlip xmlns:asvg="http://schemas.microsoft.com/office/drawing/2016/SVG/main" r:embed="rId7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pic>
        <p:nvPicPr>
          <p:cNvPr id="117" name="Рисунок 8">
            <a:extLst>
              <a:ext uri="{FF2B5EF4-FFF2-40B4-BE49-F238E27FC236}">
                <a16:creationId xmlns:a16="http://schemas.microsoft.com/office/drawing/2014/main" id="{0A8E6F37-FC08-4402-8965-ADF1103B67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3" cstate="print">
            <a:alphaModFix amt="17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75" t="25442" r="32534" b="38466"/>
          <a:stretch/>
        </p:blipFill>
        <p:spPr>
          <a:xfrm>
            <a:off x="14743064" y="487160"/>
            <a:ext cx="798689" cy="803177"/>
          </a:xfrm>
          <a:prstGeom prst="rect">
            <a:avLst/>
          </a:prstGeom>
        </p:spPr>
      </p:pic>
      <p:grpSp>
        <p:nvGrpSpPr>
          <p:cNvPr id="134" name="Grid" hidden="1">
            <a:extLst>
              <a:ext uri="{FF2B5EF4-FFF2-40B4-BE49-F238E27FC236}">
                <a16:creationId xmlns:a16="http://schemas.microsoft.com/office/drawing/2014/main" id="{9C1D3F9E-3F64-4FD7-BB9F-2E7751D903E0}"/>
              </a:ext>
            </a:extLst>
          </p:cNvPr>
          <p:cNvGrpSpPr/>
          <p:nvPr userDrawn="1"/>
        </p:nvGrpSpPr>
        <p:grpSpPr>
          <a:xfrm>
            <a:off x="-663523" y="-618046"/>
            <a:ext cx="16179875" cy="8974436"/>
            <a:chOff x="-497642" y="-463534"/>
            <a:chExt cx="12134906" cy="6730827"/>
          </a:xfrm>
          <a:solidFill>
            <a:schemeClr val="accent1"/>
          </a:solidFill>
        </p:grpSpPr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6B9C288E-E319-49E0-80E3-A4396EC18C6E}"/>
                </a:ext>
              </a:extLst>
            </p:cNvPr>
            <p:cNvSpPr>
              <a:spLocks/>
            </p:cNvSpPr>
            <p:nvPr/>
          </p:nvSpPr>
          <p:spPr>
            <a:xfrm>
              <a:off x="793106" y="-463534"/>
              <a:ext cx="10844158" cy="318924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400"/>
                </a:spcBef>
                <a:spcAft>
                  <a:spcPts val="400"/>
                </a:spcAft>
              </a:pPr>
              <a:r>
                <a:rPr lang="en-US" sz="2133" b="1" dirty="0">
                  <a:solidFill>
                    <a:schemeClr val="bg1"/>
                  </a:solidFill>
                  <a:latin typeface="+mj-lt"/>
                </a:rPr>
                <a:t>Work area v.2</a:t>
              </a:r>
              <a:endParaRPr lang="ru-RU" sz="2133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C671BB25-742E-4700-AF34-48CB311FAAD2}"/>
                </a:ext>
              </a:extLst>
            </p:cNvPr>
            <p:cNvSpPr>
              <a:spLocks/>
            </p:cNvSpPr>
            <p:nvPr/>
          </p:nvSpPr>
          <p:spPr>
            <a:xfrm>
              <a:off x="3721608" y="-454422"/>
              <a:ext cx="7915656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l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4</a:t>
              </a: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BAE402B8-52AA-477C-BC5A-535B6880A81A}"/>
                </a:ext>
              </a:extLst>
            </p:cNvPr>
            <p:cNvSpPr>
              <a:spLocks/>
            </p:cNvSpPr>
            <p:nvPr/>
          </p:nvSpPr>
          <p:spPr>
            <a:xfrm>
              <a:off x="4672584" y="-454422"/>
              <a:ext cx="6964680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3</a:t>
              </a: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FEC0216E-AC31-4E93-8D99-2EA9A8AB250B}"/>
                </a:ext>
              </a:extLst>
            </p:cNvPr>
            <p:cNvSpPr>
              <a:spLocks/>
            </p:cNvSpPr>
            <p:nvPr/>
          </p:nvSpPr>
          <p:spPr>
            <a:xfrm>
              <a:off x="6400800" y="-454422"/>
              <a:ext cx="5236464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1/2</a:t>
              </a: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6C90E475-793D-4864-90FF-F00EA9884ACF}"/>
                </a:ext>
              </a:extLst>
            </p:cNvPr>
            <p:cNvSpPr>
              <a:spLocks/>
            </p:cNvSpPr>
            <p:nvPr/>
          </p:nvSpPr>
          <p:spPr>
            <a:xfrm>
              <a:off x="8138160" y="-454422"/>
              <a:ext cx="3499104" cy="300701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2/3</a:t>
              </a:r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F4398C74-092E-44C7-9B97-1504B8C5E9D9}"/>
                </a:ext>
              </a:extLst>
            </p:cNvPr>
            <p:cNvSpPr>
              <a:spLocks/>
            </p:cNvSpPr>
            <p:nvPr/>
          </p:nvSpPr>
          <p:spPr>
            <a:xfrm>
              <a:off x="9089264" y="-463534"/>
              <a:ext cx="2548000" cy="318924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spcBef>
                  <a:spcPts val="400"/>
                </a:spcBef>
                <a:spcAft>
                  <a:spcPts val="400"/>
                </a:spcAft>
              </a:pPr>
              <a:r>
                <a:rPr lang="ru-RU" sz="2133" b="1" dirty="0">
                  <a:solidFill>
                    <a:schemeClr val="bg1"/>
                  </a:solidFill>
                  <a:latin typeface="+mj-lt"/>
                </a:rPr>
                <a:t>3/4</a:t>
              </a:r>
            </a:p>
          </p:txBody>
        </p: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BC72B4D0-AF6E-453D-9347-578B7673AF6A}"/>
                </a:ext>
              </a:extLst>
            </p:cNvPr>
            <p:cNvCxnSpPr>
              <a:cxnSpLocks/>
            </p:cNvCxnSpPr>
            <p:nvPr/>
          </p:nvCxnSpPr>
          <p:spPr>
            <a:xfrm>
              <a:off x="3721608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83A38F4B-EA34-483F-AD33-712A1C384414}"/>
                </a:ext>
              </a:extLst>
            </p:cNvPr>
            <p:cNvCxnSpPr>
              <a:cxnSpLocks/>
            </p:cNvCxnSpPr>
            <p:nvPr/>
          </p:nvCxnSpPr>
          <p:spPr>
            <a:xfrm>
              <a:off x="4672584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5B4C6073-5E81-44FD-BA2A-45993FDA777C}"/>
                </a:ext>
              </a:extLst>
            </p:cNvPr>
            <p:cNvCxnSpPr>
              <a:cxnSpLocks/>
            </p:cNvCxnSpPr>
            <p:nvPr/>
          </p:nvCxnSpPr>
          <p:spPr>
            <a:xfrm>
              <a:off x="6400800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9D84F3E6-3DB3-4754-B59E-FFF27E021F02}"/>
                </a:ext>
              </a:extLst>
            </p:cNvPr>
            <p:cNvCxnSpPr>
              <a:cxnSpLocks/>
            </p:cNvCxnSpPr>
            <p:nvPr/>
          </p:nvCxnSpPr>
          <p:spPr>
            <a:xfrm>
              <a:off x="8138160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E79370C6-EBCE-4EFF-9B97-46276E97842E}"/>
                </a:ext>
              </a:extLst>
            </p:cNvPr>
            <p:cNvCxnSpPr>
              <a:cxnSpLocks/>
            </p:cNvCxnSpPr>
            <p:nvPr/>
          </p:nvCxnSpPr>
          <p:spPr>
            <a:xfrm>
              <a:off x="9089264" y="-463534"/>
              <a:ext cx="0" cy="318924"/>
            </a:xfrm>
            <a:prstGeom prst="line">
              <a:avLst/>
            </a:prstGeom>
            <a:grpFill/>
            <a:ln w="1270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7E6DD867-DEC0-4E64-9B1F-EA23DC949416}"/>
                </a:ext>
              </a:extLst>
            </p:cNvPr>
            <p:cNvSpPr>
              <a:spLocks/>
            </p:cNvSpPr>
            <p:nvPr/>
          </p:nvSpPr>
          <p:spPr>
            <a:xfrm>
              <a:off x="-497642" y="1380931"/>
              <a:ext cx="364936" cy="4886362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r>
                <a:rPr lang="en-US" sz="2133" b="1" dirty="0">
                  <a:solidFill>
                    <a:schemeClr val="bg1"/>
                  </a:solidFill>
                  <a:latin typeface="+mj-lt"/>
                </a:rPr>
                <a:t>Work area</a:t>
              </a:r>
              <a:endParaRPr lang="ru-RU" sz="2133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47" name="Sticker" hidden="1">
            <a:extLst>
              <a:ext uri="{FF2B5EF4-FFF2-40B4-BE49-F238E27FC236}">
                <a16:creationId xmlns:a16="http://schemas.microsoft.com/office/drawing/2014/main" id="{D13983F5-63D8-4395-9283-03A16163FE85}"/>
              </a:ext>
            </a:extLst>
          </p:cNvPr>
          <p:cNvSpPr txBox="1"/>
          <p:nvPr userDrawn="1"/>
        </p:nvSpPr>
        <p:spPr>
          <a:xfrm>
            <a:off x="14076352" y="55463"/>
            <a:ext cx="1440000" cy="16421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pPr lvl="0" algn="r"/>
            <a:r>
              <a:rPr lang="ru-RU" sz="1067" dirty="0">
                <a:solidFill>
                  <a:schemeClr val="tx1"/>
                </a:solidFill>
              </a:rPr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2554955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lang="ru-RU" sz="2933" b="1" kern="1200" spc="0" baseline="0" dirty="0">
          <a:ln w="6350" cap="flat">
            <a:noFill/>
            <a:miter lim="800000"/>
          </a:ln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Segoe UI" panose="020B0502040204020203" pitchFamily="34" charset="0"/>
        <a:buChar char="​"/>
        <a:defRPr lang="en-US" sz="1867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7187" indent="-302387" algn="l" defTabSz="121917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rgbClr val="CB2F0D"/>
        </a:buClr>
        <a:buSzPct val="110000"/>
        <a:buFont typeface="Wingdings" panose="05000000000000000000" pitchFamily="2" charset="2"/>
        <a:buChar char="§"/>
        <a:defRPr lang="en-US" sz="1867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90376" indent="-287989" algn="l" defTabSz="121917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rgbClr val="CB2F0D"/>
        </a:buClr>
        <a:buSzPct val="110000"/>
        <a:buFont typeface="Arial" panose="020B0604020202020204" pitchFamily="34" charset="0"/>
        <a:buChar char="‒"/>
        <a:defRPr lang="en-US" sz="1867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96767" indent="-201592" algn="l" defTabSz="121917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rgbClr val="CB2F0D"/>
        </a:buClr>
        <a:buSzPct val="100000"/>
        <a:buFont typeface="Arial" panose="020B0604020202020204" pitchFamily="34" charset="0"/>
        <a:buChar char="•"/>
        <a:defRPr lang="en-US" sz="1867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89555" indent="-196792" algn="l" defTabSz="121917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rgbClr val="CB2F0D"/>
        </a:buClr>
        <a:buSzPct val="100000"/>
        <a:buFont typeface="Arial" panose="020B0604020202020204" pitchFamily="34" charset="0"/>
        <a:buChar char="̶"/>
        <a:defRPr lang="en-US" sz="1867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447764" indent="-228594" algn="l" defTabSz="121917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 panose="020B0604020202020204" pitchFamily="34" charset="0"/>
        <a:buChar char="▫"/>
        <a:defRPr sz="2133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447764" indent="-228594" algn="l" defTabSz="121917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 panose="020B0604020202020204" pitchFamily="34" charset="0"/>
        <a:buChar char="▫"/>
        <a:defRPr sz="2133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447764" indent="-228594" algn="l" defTabSz="121917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 panose="020B0604020202020204" pitchFamily="34" charset="0"/>
        <a:buChar char="▫"/>
        <a:defRPr sz="2133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447764" indent="-228594" algn="l" defTabSz="121917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 panose="020B0604020202020204" pitchFamily="34" charset="0"/>
        <a:buChar char="▫"/>
        <a:defRPr sz="2133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jp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jpeg"/><Relationship Id="rId11" Type="http://schemas.openxmlformats.org/officeDocument/2006/relationships/image" Target="../media/image17.png"/><Relationship Id="rId5" Type="http://schemas.openxmlformats.org/officeDocument/2006/relationships/image" Target="../media/image11.jpeg"/><Relationship Id="rId10" Type="http://schemas.openxmlformats.org/officeDocument/2006/relationships/image" Target="../media/image16.png"/><Relationship Id="rId4" Type="http://schemas.openxmlformats.org/officeDocument/2006/relationships/image" Target="../media/image10.jpeg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slideLayout" Target="../slideLayouts/slideLayout5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5" Type="http://schemas.openxmlformats.org/officeDocument/2006/relationships/tags" Target="../tags/tag139.xml"/><Relationship Id="rId10" Type="http://schemas.openxmlformats.org/officeDocument/2006/relationships/tags" Target="../tags/tag144.xml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6553200"/>
            <a:ext cx="673100" cy="1574800"/>
          </a:xfrm>
          <a:custGeom>
            <a:avLst/>
            <a:gdLst/>
            <a:ahLst/>
            <a:cxnLst/>
            <a:rect l="l" t="t" r="r" b="b"/>
            <a:pathLst>
              <a:path w="673100" h="1574800">
                <a:moveTo>
                  <a:pt x="673100" y="0"/>
                </a:moveTo>
                <a:lnTo>
                  <a:pt x="0" y="0"/>
                </a:lnTo>
                <a:lnTo>
                  <a:pt x="0" y="1574800"/>
                </a:lnTo>
                <a:lnTo>
                  <a:pt x="673100" y="1574800"/>
                </a:lnTo>
                <a:lnTo>
                  <a:pt x="673100" y="0"/>
                </a:lnTo>
                <a:close/>
              </a:path>
            </a:pathLst>
          </a:custGeom>
          <a:solidFill>
            <a:srgbClr val="CB2F0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15240000" y="6553200"/>
            <a:ext cx="1016000" cy="1574800"/>
          </a:xfrm>
          <a:custGeom>
            <a:avLst/>
            <a:gdLst/>
            <a:ahLst/>
            <a:cxnLst/>
            <a:rect l="l" t="t" r="r" b="b"/>
            <a:pathLst>
              <a:path w="1016000" h="1574800">
                <a:moveTo>
                  <a:pt x="1016000" y="0"/>
                </a:moveTo>
                <a:lnTo>
                  <a:pt x="0" y="0"/>
                </a:lnTo>
                <a:lnTo>
                  <a:pt x="0" y="1574800"/>
                </a:lnTo>
                <a:lnTo>
                  <a:pt x="1016000" y="1574800"/>
                </a:lnTo>
                <a:lnTo>
                  <a:pt x="1016000" y="0"/>
                </a:lnTo>
                <a:close/>
              </a:path>
            </a:pathLst>
          </a:custGeom>
          <a:solidFill>
            <a:srgbClr val="CB2F0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365"/>
          <a:stretch/>
        </p:blipFill>
        <p:spPr>
          <a:xfrm>
            <a:off x="13462373" y="529820"/>
            <a:ext cx="2133227" cy="2060980"/>
          </a:xfrm>
          <a:prstGeom prst="rect">
            <a:avLst/>
          </a:prstGeom>
        </p:spPr>
      </p:pic>
      <p:sp>
        <p:nvSpPr>
          <p:cNvPr id="7" name="object 5">
            <a:extLst>
              <a:ext uri="{FF2B5EF4-FFF2-40B4-BE49-F238E27FC236}">
                <a16:creationId xmlns:a16="http://schemas.microsoft.com/office/drawing/2014/main" id="{20E82CF3-A578-42A6-B1A2-945165898915}"/>
              </a:ext>
            </a:extLst>
          </p:cNvPr>
          <p:cNvSpPr txBox="1"/>
          <p:nvPr/>
        </p:nvSpPr>
        <p:spPr>
          <a:xfrm>
            <a:off x="648607" y="5638800"/>
            <a:ext cx="11199959" cy="3196938"/>
          </a:xfrm>
          <a:prstGeom prst="rect">
            <a:avLst/>
          </a:prstGeom>
          <a:ln w="50800">
            <a:solidFill>
              <a:srgbClr val="CB2F0D"/>
            </a:solidFill>
          </a:ln>
        </p:spPr>
        <p:txBody>
          <a:bodyPr vert="horz" wrap="square" lIns="0" tIns="360000" rIns="0" bIns="360000" rtlCol="0">
            <a:spAutoFit/>
          </a:bodyPr>
          <a:lstStyle/>
          <a:p>
            <a:pPr marL="344797">
              <a:spcBef>
                <a:spcPts val="3291"/>
              </a:spcBef>
            </a:pPr>
            <a:endParaRPr lang="ru-RU" sz="500" spc="45" dirty="0">
              <a:latin typeface="HSE Sans"/>
              <a:cs typeface="Myriad Pro Black"/>
            </a:endParaRPr>
          </a:p>
          <a:p>
            <a:pPr marL="344797">
              <a:spcBef>
                <a:spcPts val="3291"/>
              </a:spcBef>
            </a:pPr>
            <a:r>
              <a:rPr lang="ru-RU" sz="3200" spc="45" dirty="0">
                <a:latin typeface="HSE Sans"/>
                <a:cs typeface="Myriad Pro Black"/>
              </a:rPr>
              <a:t>Программа магистратуры по направлению «Менеджмент»</a:t>
            </a:r>
          </a:p>
          <a:p>
            <a:pPr marL="344797"/>
            <a:r>
              <a:rPr lang="ru-RU" sz="4800" b="1" dirty="0">
                <a:latin typeface="HSE Sans"/>
                <a:cs typeface="Arial" panose="020B0604020202020204" pitchFamily="34" charset="0"/>
              </a:rPr>
              <a:t>СТРАТЕГИЧЕСКИЙ МЕНЕДЖМЕНТ И КОНСАЛТИНГ</a:t>
            </a:r>
            <a:endParaRPr lang="ru-RU" sz="4800" b="1" spc="45" dirty="0">
              <a:latin typeface="HSE Sans"/>
              <a:cs typeface="Myriad Pro Black"/>
            </a:endParaRPr>
          </a:p>
        </p:txBody>
      </p:sp>
    </p:spTree>
    <p:extLst>
      <p:ext uri="{BB962C8B-B14F-4D97-AF65-F5344CB8AC3E}">
        <p14:creationId xmlns:p14="http://schemas.microsoft.com/office/powerpoint/2010/main" val="37830076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3" name="Рисунок 172">
            <a:extLst>
              <a:ext uri="{FF2B5EF4-FFF2-40B4-BE49-F238E27FC236}">
                <a16:creationId xmlns:a16="http://schemas.microsoft.com/office/drawing/2014/main" id="{B88BC0C4-03F1-4E49-AD24-EA9BBE8B17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09153" y="5790134"/>
            <a:ext cx="2641600" cy="1485900"/>
          </a:xfrm>
          <a:prstGeom prst="rect">
            <a:avLst/>
          </a:prstGeom>
        </p:spPr>
      </p:pic>
      <p:pic>
        <p:nvPicPr>
          <p:cNvPr id="164" name="Рисунок 163" descr="Изображение выглядит как нож&#10;&#10;Автоматически созданное описание">
            <a:extLst>
              <a:ext uri="{FF2B5EF4-FFF2-40B4-BE49-F238E27FC236}">
                <a16:creationId xmlns:a16="http://schemas.microsoft.com/office/drawing/2014/main" id="{4C19C7B8-B2FE-6B47-B492-34D8CAB71B2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000" y="2945845"/>
            <a:ext cx="4795440" cy="2697434"/>
          </a:xfrm>
          <a:prstGeom prst="rect">
            <a:avLst/>
          </a:prstGeom>
        </p:spPr>
      </p:pic>
      <p:sp>
        <p:nvSpPr>
          <p:cNvPr id="3" name="object 3"/>
          <p:cNvSpPr txBox="1">
            <a:spLocks/>
          </p:cNvSpPr>
          <p:nvPr/>
        </p:nvSpPr>
        <p:spPr>
          <a:xfrm>
            <a:off x="1041400" y="775094"/>
            <a:ext cx="14905664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ru-RU" sz="2800" b="1" spc="-15" dirty="0">
                <a:solidFill>
                  <a:schemeClr val="bg1"/>
                </a:solidFill>
                <a:latin typeface="HSE Sans"/>
                <a:ea typeface="+mn-ea"/>
                <a:cs typeface="+mn-cs"/>
              </a:rPr>
              <a:t>БАКАЛАВРИАТ ВШБ : ПРАВИЛА ПРИЕМА 2021</a:t>
            </a: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0969447D-71AA-4FCE-B178-922B586EE92E}"/>
              </a:ext>
            </a:extLst>
          </p:cNvPr>
          <p:cNvSpPr/>
          <p:nvPr/>
        </p:nvSpPr>
        <p:spPr>
          <a:xfrm>
            <a:off x="0" y="381000"/>
            <a:ext cx="812800" cy="1231900"/>
          </a:xfrm>
          <a:custGeom>
            <a:avLst/>
            <a:gdLst/>
            <a:ahLst/>
            <a:cxnLst/>
            <a:rect l="l" t="t" r="r" b="b"/>
            <a:pathLst>
              <a:path w="16256000" h="965200">
                <a:moveTo>
                  <a:pt x="16256000" y="0"/>
                </a:moveTo>
                <a:lnTo>
                  <a:pt x="0" y="0"/>
                </a:lnTo>
                <a:lnTo>
                  <a:pt x="0" y="965200"/>
                </a:lnTo>
                <a:lnTo>
                  <a:pt x="16256000" y="9652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CB2F0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27B84A8D-C260-4F62-8B75-1E16D0710B53}"/>
              </a:ext>
            </a:extLst>
          </p:cNvPr>
          <p:cNvSpPr txBox="1">
            <a:spLocks/>
          </p:cNvSpPr>
          <p:nvPr/>
        </p:nvSpPr>
        <p:spPr>
          <a:xfrm>
            <a:off x="1041400" y="609600"/>
            <a:ext cx="15252701" cy="652102"/>
          </a:xfrm>
          <a:prstGeom prst="rect">
            <a:avLst/>
          </a:prstGeom>
        </p:spPr>
        <p:txBody>
          <a:bodyPr vert="horz" wrap="square" lIns="0" tIns="97155" rIns="0" bIns="0" rtlCol="0">
            <a:spAutoFit/>
          </a:bodyPr>
          <a:lstStyle>
            <a:lvl1pPr>
              <a:defRPr sz="4400" b="1" i="0">
                <a:solidFill>
                  <a:schemeClr val="tx1"/>
                </a:solidFill>
                <a:latin typeface="Myriad Pro Black"/>
                <a:ea typeface="+mj-ea"/>
                <a:cs typeface="Myriad Pro Black"/>
              </a:defRPr>
            </a:lvl1pPr>
          </a:lstStyle>
          <a:p>
            <a:pPr marL="17145"/>
            <a:r>
              <a:rPr lang="ru-RU" sz="3600" kern="0" spc="45" dirty="0">
                <a:solidFill>
                  <a:srgbClr val="C00000"/>
                </a:solidFill>
                <a:latin typeface="HSE Sans"/>
                <a:cs typeface="Arial" panose="020B0604020202020204" pitchFamily="34" charset="0"/>
              </a:rPr>
              <a:t>КОГО МЫ ОБУЧАЕМ? </a:t>
            </a:r>
            <a:r>
              <a:rPr lang="ru-RU" sz="3600" b="0" kern="0" spc="45" dirty="0">
                <a:latin typeface="HSE Sans"/>
                <a:cs typeface="Arial" panose="020B0604020202020204" pitchFamily="34" charset="0"/>
              </a:rPr>
              <a:t>– ТРАЕКТОРИИ РАЗВИТИЯ КАРЬЕРЫ</a:t>
            </a:r>
            <a:endParaRPr lang="ru-RU" sz="3600" b="0" kern="0" spc="-5" dirty="0">
              <a:latin typeface="HSE Sans"/>
              <a:cs typeface="Arial" panose="020B0604020202020204" pitchFamily="34" charset="0"/>
            </a:endParaRPr>
          </a:p>
        </p:txBody>
      </p:sp>
      <p:sp>
        <p:nvSpPr>
          <p:cNvPr id="44" name="object 2">
            <a:extLst>
              <a:ext uri="{FF2B5EF4-FFF2-40B4-BE49-F238E27FC236}">
                <a16:creationId xmlns:a16="http://schemas.microsoft.com/office/drawing/2014/main" id="{DB2F116C-DF85-47A6-8E38-899B5394DD31}"/>
              </a:ext>
            </a:extLst>
          </p:cNvPr>
          <p:cNvSpPr txBox="1">
            <a:spLocks/>
          </p:cNvSpPr>
          <p:nvPr/>
        </p:nvSpPr>
        <p:spPr>
          <a:xfrm>
            <a:off x="11367324" y="1608703"/>
            <a:ext cx="4237821" cy="467436"/>
          </a:xfrm>
          <a:prstGeom prst="rect">
            <a:avLst/>
          </a:prstGeom>
        </p:spPr>
        <p:txBody>
          <a:bodyPr vert="horz" wrap="square" lIns="0" tIns="97155" rIns="0" bIns="0" rtlCol="0">
            <a:spAutoFit/>
          </a:bodyPr>
          <a:lstStyle>
            <a:lvl1pPr>
              <a:defRPr sz="4400" b="1" i="0">
                <a:solidFill>
                  <a:schemeClr val="tx1"/>
                </a:solidFill>
                <a:latin typeface="Myriad Pro Black"/>
                <a:ea typeface="+mj-ea"/>
                <a:cs typeface="Myriad Pro Black"/>
              </a:defRPr>
            </a:lvl1pPr>
          </a:lstStyle>
          <a:p>
            <a:pPr marL="17145" algn="ctr"/>
            <a:r>
              <a:rPr lang="ru-RU" sz="2400" kern="0" spc="45" dirty="0">
                <a:latin typeface="HSE Sans"/>
                <a:cs typeface="Arial" panose="020B0604020202020204" pitchFamily="34" charset="0"/>
              </a:rPr>
              <a:t>РАБОТОДАТЕЛИ:</a:t>
            </a:r>
            <a:endParaRPr lang="ru-RU" sz="2400" b="0" kern="0" spc="-5" dirty="0">
              <a:latin typeface="HSE Sans"/>
              <a:cs typeface="Arial" panose="020B0604020202020204" pitchFamily="34" charset="0"/>
            </a:endParaRPr>
          </a:p>
        </p:txBody>
      </p:sp>
      <p:sp>
        <p:nvSpPr>
          <p:cNvPr id="152" name="TextBox 24">
            <a:extLst>
              <a:ext uri="{FF2B5EF4-FFF2-40B4-BE49-F238E27FC236}">
                <a16:creationId xmlns:a16="http://schemas.microsoft.com/office/drawing/2014/main" id="{7EA80406-8AE8-435F-87B6-BEAECC4C8CC1}"/>
              </a:ext>
            </a:extLst>
          </p:cNvPr>
          <p:cNvSpPr txBox="1">
            <a:spLocks/>
          </p:cNvSpPr>
          <p:nvPr/>
        </p:nvSpPr>
        <p:spPr>
          <a:xfrm>
            <a:off x="1800483" y="4536405"/>
            <a:ext cx="8622049" cy="18466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>
                <a:latin typeface="+mn-lt"/>
                <a:cs typeface="+mn-cs"/>
              </a:rPr>
              <a:t>В рамках программы делается акцент на развитии </a:t>
            </a:r>
            <a:r>
              <a:rPr lang="ru-RU" sz="2400" b="1" dirty="0">
                <a:solidFill>
                  <a:srgbClr val="C00000"/>
                </a:solidFill>
                <a:latin typeface="+mn-lt"/>
                <a:cs typeface="+mn-cs"/>
              </a:rPr>
              <a:t>лидерских качеств и практических навыков</a:t>
            </a:r>
            <a:r>
              <a:rPr lang="ru-RU" sz="2400" dirty="0">
                <a:latin typeface="+mn-lt"/>
                <a:cs typeface="+mn-cs"/>
              </a:rPr>
              <a:t>, необходимых для работы в целевых отраслях, за счет работы над </a:t>
            </a:r>
            <a:r>
              <a:rPr lang="ru-RU" sz="2400" b="1" dirty="0">
                <a:solidFill>
                  <a:srgbClr val="C00000"/>
                </a:solidFill>
                <a:latin typeface="+mn-lt"/>
                <a:cs typeface="+mn-cs"/>
              </a:rPr>
              <a:t>реальными бизнес-кейсами, общения с отраслевыми лидерами </a:t>
            </a:r>
            <a:r>
              <a:rPr lang="ru-RU" sz="2400" dirty="0">
                <a:latin typeface="+mn-lt"/>
                <a:cs typeface="+mn-cs"/>
              </a:rPr>
              <a:t>и реализацией 3-х реальных </a:t>
            </a:r>
            <a:r>
              <a:rPr lang="ru-RU" sz="2400" b="1" dirty="0">
                <a:solidFill>
                  <a:srgbClr val="C00000"/>
                </a:solidFill>
                <a:latin typeface="+mn-lt"/>
                <a:cs typeface="+mn-cs"/>
              </a:rPr>
              <a:t>бизнес-проектов</a:t>
            </a:r>
            <a:endParaRPr lang="ru-RU" sz="2400" dirty="0">
              <a:solidFill>
                <a:srgbClr val="C00000"/>
              </a:solidFill>
              <a:latin typeface="+mn-lt"/>
              <a:cs typeface="+mn-cs"/>
            </a:endParaRPr>
          </a:p>
        </p:txBody>
      </p:sp>
      <p:grpSp>
        <p:nvGrpSpPr>
          <p:cNvPr id="153" name="Group 26">
            <a:extLst>
              <a:ext uri="{FF2B5EF4-FFF2-40B4-BE49-F238E27FC236}">
                <a16:creationId xmlns:a16="http://schemas.microsoft.com/office/drawing/2014/main" id="{8D86AEE9-5141-4E82-B268-FA3825873E11}"/>
              </a:ext>
            </a:extLst>
          </p:cNvPr>
          <p:cNvGrpSpPr/>
          <p:nvPr/>
        </p:nvGrpSpPr>
        <p:grpSpPr>
          <a:xfrm>
            <a:off x="660400" y="4882288"/>
            <a:ext cx="749944" cy="747329"/>
            <a:chOff x="3344131" y="2057081"/>
            <a:chExt cx="541891" cy="540000"/>
          </a:xfrm>
        </p:grpSpPr>
        <p:sp>
          <p:nvSpPr>
            <p:cNvPr id="154" name="Freeform 25">
              <a:extLst>
                <a:ext uri="{FF2B5EF4-FFF2-40B4-BE49-F238E27FC236}">
                  <a16:creationId xmlns:a16="http://schemas.microsoft.com/office/drawing/2014/main" id="{70ABCD53-CF45-45D5-B1B8-84AC01C90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4131" y="2501564"/>
              <a:ext cx="541891" cy="95517"/>
            </a:xfrm>
            <a:custGeom>
              <a:avLst/>
              <a:gdLst>
                <a:gd name="T0" fmla="*/ 0 w 573"/>
                <a:gd name="T1" fmla="*/ 101 h 101"/>
                <a:gd name="T2" fmla="*/ 0 w 573"/>
                <a:gd name="T3" fmla="*/ 35 h 101"/>
                <a:gd name="T4" fmla="*/ 186 w 573"/>
                <a:gd name="T5" fmla="*/ 35 h 101"/>
                <a:gd name="T6" fmla="*/ 186 w 573"/>
                <a:gd name="T7" fmla="*/ 0 h 101"/>
                <a:gd name="T8" fmla="*/ 390 w 573"/>
                <a:gd name="T9" fmla="*/ 0 h 101"/>
                <a:gd name="T10" fmla="*/ 390 w 573"/>
                <a:gd name="T11" fmla="*/ 62 h 101"/>
                <a:gd name="T12" fmla="*/ 573 w 573"/>
                <a:gd name="T13" fmla="*/ 62 h 101"/>
                <a:gd name="T14" fmla="*/ 573 w 573"/>
                <a:gd name="T1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3" h="101">
                  <a:moveTo>
                    <a:pt x="0" y="101"/>
                  </a:moveTo>
                  <a:lnTo>
                    <a:pt x="0" y="35"/>
                  </a:lnTo>
                  <a:lnTo>
                    <a:pt x="186" y="35"/>
                  </a:lnTo>
                  <a:lnTo>
                    <a:pt x="186" y="0"/>
                  </a:lnTo>
                  <a:lnTo>
                    <a:pt x="390" y="0"/>
                  </a:lnTo>
                  <a:lnTo>
                    <a:pt x="390" y="62"/>
                  </a:lnTo>
                  <a:lnTo>
                    <a:pt x="573" y="62"/>
                  </a:lnTo>
                  <a:lnTo>
                    <a:pt x="573" y="101"/>
                  </a:ln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55" name="Line 26">
              <a:extLst>
                <a:ext uri="{FF2B5EF4-FFF2-40B4-BE49-F238E27FC236}">
                  <a16:creationId xmlns:a16="http://schemas.microsoft.com/office/drawing/2014/main" id="{B326FEBE-1A31-4C66-9775-CB8243BF5B0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20033" y="2534664"/>
              <a:ext cx="0" cy="17023"/>
            </a:xfrm>
            <a:prstGeom prst="line">
              <a:avLst/>
            </a:pr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56" name="Line 27">
              <a:extLst>
                <a:ext uri="{FF2B5EF4-FFF2-40B4-BE49-F238E27FC236}">
                  <a16:creationId xmlns:a16="http://schemas.microsoft.com/office/drawing/2014/main" id="{3DA0DE5E-9F1B-4F16-B1B8-CAE237AB1A5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12957" y="2560198"/>
              <a:ext cx="0" cy="19860"/>
            </a:xfrm>
            <a:prstGeom prst="line">
              <a:avLst/>
            </a:pr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57" name="Line 28">
              <a:extLst>
                <a:ext uri="{FF2B5EF4-FFF2-40B4-BE49-F238E27FC236}">
                  <a16:creationId xmlns:a16="http://schemas.microsoft.com/office/drawing/2014/main" id="{2EB12988-31FF-4F69-B1DB-050B03C5B3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16495" y="2396590"/>
              <a:ext cx="0" cy="70929"/>
            </a:xfrm>
            <a:prstGeom prst="line">
              <a:avLst/>
            </a:pr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58" name="Freeform 29">
              <a:extLst>
                <a:ext uri="{FF2B5EF4-FFF2-40B4-BE49-F238E27FC236}">
                  <a16:creationId xmlns:a16="http://schemas.microsoft.com/office/drawing/2014/main" id="{87F22B40-615C-4F8D-8F04-2469D22251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9525" y="2065593"/>
              <a:ext cx="451103" cy="401926"/>
            </a:xfrm>
            <a:custGeom>
              <a:avLst/>
              <a:gdLst>
                <a:gd name="T0" fmla="*/ 55 w 159"/>
                <a:gd name="T1" fmla="*/ 142 h 142"/>
                <a:gd name="T2" fmla="*/ 55 w 159"/>
                <a:gd name="T3" fmla="*/ 89 h 142"/>
                <a:gd name="T4" fmla="*/ 52 w 159"/>
                <a:gd name="T5" fmla="*/ 59 h 142"/>
                <a:gd name="T6" fmla="*/ 2 w 159"/>
                <a:gd name="T7" fmla="*/ 12 h 142"/>
                <a:gd name="T8" fmla="*/ 1 w 159"/>
                <a:gd name="T9" fmla="*/ 6 h 142"/>
                <a:gd name="T10" fmla="*/ 1 w 159"/>
                <a:gd name="T11" fmla="*/ 6 h 142"/>
                <a:gd name="T12" fmla="*/ 10 w 159"/>
                <a:gd name="T13" fmla="*/ 2 h 142"/>
                <a:gd name="T14" fmla="*/ 64 w 159"/>
                <a:gd name="T15" fmla="*/ 40 h 142"/>
                <a:gd name="T16" fmla="*/ 80 w 159"/>
                <a:gd name="T17" fmla="*/ 43 h 142"/>
                <a:gd name="T18" fmla="*/ 95 w 159"/>
                <a:gd name="T19" fmla="*/ 40 h 142"/>
                <a:gd name="T20" fmla="*/ 149 w 159"/>
                <a:gd name="T21" fmla="*/ 2 h 142"/>
                <a:gd name="T22" fmla="*/ 159 w 159"/>
                <a:gd name="T23" fmla="*/ 6 h 142"/>
                <a:gd name="T24" fmla="*/ 159 w 159"/>
                <a:gd name="T25" fmla="*/ 6 h 142"/>
                <a:gd name="T26" fmla="*/ 157 w 159"/>
                <a:gd name="T27" fmla="*/ 12 h 142"/>
                <a:gd name="T28" fmla="*/ 107 w 159"/>
                <a:gd name="T29" fmla="*/ 59 h 142"/>
                <a:gd name="T30" fmla="*/ 104 w 159"/>
                <a:gd name="T31" fmla="*/ 89 h 142"/>
                <a:gd name="T32" fmla="*/ 104 w 159"/>
                <a:gd name="T3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9" h="142">
                  <a:moveTo>
                    <a:pt x="55" y="142"/>
                  </a:moveTo>
                  <a:cubicBezTo>
                    <a:pt x="55" y="89"/>
                    <a:pt x="55" y="89"/>
                    <a:pt x="55" y="89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" y="10"/>
                    <a:pt x="0" y="8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1"/>
                    <a:pt x="7" y="0"/>
                    <a:pt x="10" y="2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70" y="43"/>
                    <a:pt x="80" y="43"/>
                  </a:cubicBezTo>
                  <a:cubicBezTo>
                    <a:pt x="89" y="43"/>
                    <a:pt x="95" y="40"/>
                    <a:pt x="95" y="40"/>
                  </a:cubicBezTo>
                  <a:cubicBezTo>
                    <a:pt x="149" y="2"/>
                    <a:pt x="149" y="2"/>
                    <a:pt x="149" y="2"/>
                  </a:cubicBezTo>
                  <a:cubicBezTo>
                    <a:pt x="153" y="0"/>
                    <a:pt x="158" y="1"/>
                    <a:pt x="159" y="6"/>
                  </a:cubicBezTo>
                  <a:cubicBezTo>
                    <a:pt x="159" y="6"/>
                    <a:pt x="159" y="6"/>
                    <a:pt x="159" y="6"/>
                  </a:cubicBezTo>
                  <a:cubicBezTo>
                    <a:pt x="159" y="8"/>
                    <a:pt x="159" y="10"/>
                    <a:pt x="157" y="12"/>
                  </a:cubicBezTo>
                  <a:cubicBezTo>
                    <a:pt x="107" y="59"/>
                    <a:pt x="107" y="59"/>
                    <a:pt x="107" y="59"/>
                  </a:cubicBezTo>
                  <a:cubicBezTo>
                    <a:pt x="104" y="89"/>
                    <a:pt x="104" y="89"/>
                    <a:pt x="104" y="89"/>
                  </a:cubicBezTo>
                  <a:cubicBezTo>
                    <a:pt x="104" y="142"/>
                    <a:pt x="104" y="142"/>
                    <a:pt x="104" y="142"/>
                  </a:cubicBez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59" name="Freeform 30">
              <a:extLst>
                <a:ext uri="{FF2B5EF4-FFF2-40B4-BE49-F238E27FC236}">
                  <a16:creationId xmlns:a16="http://schemas.microsoft.com/office/drawing/2014/main" id="{690DA12D-A3EC-49CA-87B4-2AAAB1DF4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8124" y="2187589"/>
              <a:ext cx="53906" cy="157933"/>
            </a:xfrm>
            <a:custGeom>
              <a:avLst/>
              <a:gdLst>
                <a:gd name="T0" fmla="*/ 4 w 19"/>
                <a:gd name="T1" fmla="*/ 0 h 56"/>
                <a:gd name="T2" fmla="*/ 4 w 19"/>
                <a:gd name="T3" fmla="*/ 16 h 56"/>
                <a:gd name="T4" fmla="*/ 0 w 19"/>
                <a:gd name="T5" fmla="*/ 28 h 56"/>
                <a:gd name="T6" fmla="*/ 0 w 19"/>
                <a:gd name="T7" fmla="*/ 46 h 56"/>
                <a:gd name="T8" fmla="*/ 10 w 19"/>
                <a:gd name="T9" fmla="*/ 56 h 56"/>
                <a:gd name="T10" fmla="*/ 19 w 19"/>
                <a:gd name="T11" fmla="*/ 46 h 56"/>
                <a:gd name="T12" fmla="*/ 19 w 19"/>
                <a:gd name="T13" fmla="*/ 28 h 56"/>
                <a:gd name="T14" fmla="*/ 16 w 19"/>
                <a:gd name="T15" fmla="*/ 16 h 56"/>
                <a:gd name="T16" fmla="*/ 16 w 19"/>
                <a:gd name="T1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56">
                  <a:moveTo>
                    <a:pt x="4" y="0"/>
                  </a:moveTo>
                  <a:cubicBezTo>
                    <a:pt x="0" y="3"/>
                    <a:pt x="2" y="12"/>
                    <a:pt x="4" y="16"/>
                  </a:cubicBezTo>
                  <a:cubicBezTo>
                    <a:pt x="4" y="16"/>
                    <a:pt x="0" y="23"/>
                    <a:pt x="0" y="28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3"/>
                    <a:pt x="16" y="16"/>
                    <a:pt x="16" y="16"/>
                  </a:cubicBezTo>
                  <a:cubicBezTo>
                    <a:pt x="18" y="12"/>
                    <a:pt x="19" y="3"/>
                    <a:pt x="16" y="0"/>
                  </a:cubicBez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3191CC78-8DDE-4553-B5F4-1DFFB237A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101" y="2057081"/>
              <a:ext cx="90788" cy="96462"/>
            </a:xfrm>
            <a:custGeom>
              <a:avLst/>
              <a:gdLst>
                <a:gd name="T0" fmla="*/ 24 w 32"/>
                <a:gd name="T1" fmla="*/ 34 h 34"/>
                <a:gd name="T2" fmla="*/ 31 w 32"/>
                <a:gd name="T3" fmla="*/ 19 h 34"/>
                <a:gd name="T4" fmla="*/ 30 w 32"/>
                <a:gd name="T5" fmla="*/ 7 h 34"/>
                <a:gd name="T6" fmla="*/ 22 w 32"/>
                <a:gd name="T7" fmla="*/ 1 h 34"/>
                <a:gd name="T8" fmla="*/ 16 w 32"/>
                <a:gd name="T9" fmla="*/ 0 h 34"/>
                <a:gd name="T10" fmla="*/ 10 w 32"/>
                <a:gd name="T11" fmla="*/ 1 h 34"/>
                <a:gd name="T12" fmla="*/ 2 w 32"/>
                <a:gd name="T13" fmla="*/ 7 h 34"/>
                <a:gd name="T14" fmla="*/ 0 w 32"/>
                <a:gd name="T15" fmla="*/ 19 h 34"/>
                <a:gd name="T16" fmla="*/ 8 w 32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4">
                  <a:moveTo>
                    <a:pt x="24" y="34"/>
                  </a:moveTo>
                  <a:cubicBezTo>
                    <a:pt x="31" y="29"/>
                    <a:pt x="30" y="26"/>
                    <a:pt x="31" y="19"/>
                  </a:cubicBezTo>
                  <a:cubicBezTo>
                    <a:pt x="31" y="15"/>
                    <a:pt x="32" y="11"/>
                    <a:pt x="30" y="7"/>
                  </a:cubicBezTo>
                  <a:cubicBezTo>
                    <a:pt x="28" y="4"/>
                    <a:pt x="25" y="2"/>
                    <a:pt x="22" y="1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2" y="0"/>
                    <a:pt x="10" y="1"/>
                  </a:cubicBezTo>
                  <a:cubicBezTo>
                    <a:pt x="6" y="2"/>
                    <a:pt x="3" y="4"/>
                    <a:pt x="2" y="7"/>
                  </a:cubicBezTo>
                  <a:cubicBezTo>
                    <a:pt x="0" y="11"/>
                    <a:pt x="0" y="15"/>
                    <a:pt x="0" y="19"/>
                  </a:cubicBezTo>
                  <a:cubicBezTo>
                    <a:pt x="1" y="26"/>
                    <a:pt x="1" y="29"/>
                    <a:pt x="8" y="34"/>
                  </a:cubicBez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</p:grpSp>
      <p:sp>
        <p:nvSpPr>
          <p:cNvPr id="137" name="TextBox 25">
            <a:extLst>
              <a:ext uri="{FF2B5EF4-FFF2-40B4-BE49-F238E27FC236}">
                <a16:creationId xmlns:a16="http://schemas.microsoft.com/office/drawing/2014/main" id="{C0E7D314-2AD6-4A48-83F1-F6378C90CDF7}"/>
              </a:ext>
            </a:extLst>
          </p:cNvPr>
          <p:cNvSpPr txBox="1">
            <a:spLocks/>
          </p:cNvSpPr>
          <p:nvPr/>
        </p:nvSpPr>
        <p:spPr>
          <a:xfrm>
            <a:off x="1800484" y="6812442"/>
            <a:ext cx="9350914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>
                <a:latin typeface="+mn-lt"/>
                <a:cs typeface="+mn-cs"/>
              </a:rPr>
              <a:t>Программа открывает широкие возможности для трудоустройства в лучших компаниях </a:t>
            </a:r>
            <a:r>
              <a:rPr lang="ru-RU" sz="2400" b="1" dirty="0">
                <a:solidFill>
                  <a:srgbClr val="C00000"/>
                </a:solidFill>
                <a:latin typeface="+mn-lt"/>
              </a:rPr>
              <a:t>России и мира</a:t>
            </a:r>
            <a:r>
              <a:rPr lang="ru-RU" sz="2400" b="1" dirty="0">
                <a:solidFill>
                  <a:schemeClr val="accent1"/>
                </a:solidFill>
                <a:latin typeface="+mn-lt"/>
              </a:rPr>
              <a:t>, </a:t>
            </a:r>
            <a:r>
              <a:rPr lang="ru-RU" sz="2400" dirty="0">
                <a:latin typeface="+mn-lt"/>
              </a:rPr>
              <a:t>поддержанных возможностью </a:t>
            </a:r>
            <a:r>
              <a:rPr lang="ru-RU" sz="2400" b="1" dirty="0">
                <a:solidFill>
                  <a:srgbClr val="C00000"/>
                </a:solidFill>
                <a:cs typeface="+mn-cs"/>
              </a:rPr>
              <a:t>двойного диплома </a:t>
            </a:r>
            <a:r>
              <a:rPr lang="ru-RU" sz="2400" dirty="0">
                <a:latin typeface="+mn-lt"/>
                <a:cs typeface="+mn-cs"/>
              </a:rPr>
              <a:t>с ведущими зарубежными бизнес-школами и опытом </a:t>
            </a:r>
            <a:r>
              <a:rPr lang="ru-RU" sz="2400" b="1" dirty="0">
                <a:solidFill>
                  <a:srgbClr val="C00000"/>
                </a:solidFill>
                <a:cs typeface="+mn-cs"/>
              </a:rPr>
              <a:t>включенного обучения </a:t>
            </a:r>
          </a:p>
        </p:txBody>
      </p:sp>
      <p:grpSp>
        <p:nvGrpSpPr>
          <p:cNvPr id="138" name="Group 47">
            <a:extLst>
              <a:ext uri="{FF2B5EF4-FFF2-40B4-BE49-F238E27FC236}">
                <a16:creationId xmlns:a16="http://schemas.microsoft.com/office/drawing/2014/main" id="{A9A30662-2CC7-4E1A-A4DA-218B224ABA01}"/>
              </a:ext>
            </a:extLst>
          </p:cNvPr>
          <p:cNvGrpSpPr/>
          <p:nvPr/>
        </p:nvGrpSpPr>
        <p:grpSpPr>
          <a:xfrm>
            <a:off x="660026" y="7302312"/>
            <a:ext cx="749942" cy="377922"/>
            <a:chOff x="10765960" y="3128720"/>
            <a:chExt cx="620368" cy="377922"/>
          </a:xfrm>
        </p:grpSpPr>
        <p:sp>
          <p:nvSpPr>
            <p:cNvPr id="139" name="Line 303">
              <a:extLst>
                <a:ext uri="{FF2B5EF4-FFF2-40B4-BE49-F238E27FC236}">
                  <a16:creationId xmlns:a16="http://schemas.microsoft.com/office/drawing/2014/main" id="{FAF03353-CFD9-4251-AA45-6D6387A3B6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224359" y="3409870"/>
              <a:ext cx="74363" cy="0"/>
            </a:xfrm>
            <a:prstGeom prst="lin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40" name="Freeform 304">
              <a:extLst>
                <a:ext uri="{FF2B5EF4-FFF2-40B4-BE49-F238E27FC236}">
                  <a16:creationId xmlns:a16="http://schemas.microsoft.com/office/drawing/2014/main" id="{61B1ACF0-F20B-44BB-839C-33E4A3421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603" y="3376254"/>
              <a:ext cx="146688" cy="130388"/>
            </a:xfrm>
            <a:custGeom>
              <a:avLst/>
              <a:gdLst>
                <a:gd name="T0" fmla="*/ 69 w 69"/>
                <a:gd name="T1" fmla="*/ 59 h 61"/>
                <a:gd name="T2" fmla="*/ 46 w 69"/>
                <a:gd name="T3" fmla="*/ 49 h 61"/>
                <a:gd name="T4" fmla="*/ 18 w 69"/>
                <a:gd name="T5" fmla="*/ 0 h 61"/>
                <a:gd name="T6" fmla="*/ 0 w 69"/>
                <a:gd name="T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61">
                  <a:moveTo>
                    <a:pt x="69" y="59"/>
                  </a:moveTo>
                  <a:cubicBezTo>
                    <a:pt x="64" y="60"/>
                    <a:pt x="53" y="61"/>
                    <a:pt x="46" y="49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41" name="Line 305">
              <a:extLst>
                <a:ext uri="{FF2B5EF4-FFF2-40B4-BE49-F238E27FC236}">
                  <a16:creationId xmlns:a16="http://schemas.microsoft.com/office/drawing/2014/main" id="{1EF582A5-454D-4B5F-A35E-9EA12F36CA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62392" y="3393571"/>
              <a:ext cx="36672" cy="66212"/>
            </a:xfrm>
            <a:prstGeom prst="line">
              <a:avLst/>
            </a:prstGeom>
            <a:noFill/>
            <a:ln w="28575" cap="rnd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42" name="Line 306">
              <a:extLst>
                <a:ext uri="{FF2B5EF4-FFF2-40B4-BE49-F238E27FC236}">
                  <a16:creationId xmlns:a16="http://schemas.microsoft.com/office/drawing/2014/main" id="{3166C480-0F24-4804-80D1-0AAF53AA7D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09421" y="3436356"/>
              <a:ext cx="23429" cy="41765"/>
            </a:xfrm>
            <a:prstGeom prst="line">
              <a:avLst/>
            </a:prstGeom>
            <a:noFill/>
            <a:ln w="28575" cap="rnd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43" name="Freeform 307">
              <a:extLst>
                <a:ext uri="{FF2B5EF4-FFF2-40B4-BE49-F238E27FC236}">
                  <a16:creationId xmlns:a16="http://schemas.microsoft.com/office/drawing/2014/main" id="{3C967583-337F-487D-962B-58382561A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9064" y="3459784"/>
              <a:ext cx="46859" cy="27504"/>
            </a:xfrm>
            <a:custGeom>
              <a:avLst/>
              <a:gdLst>
                <a:gd name="T0" fmla="*/ 22 w 22"/>
                <a:gd name="T1" fmla="*/ 7 h 13"/>
                <a:gd name="T2" fmla="*/ 0 w 22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" h="13">
                  <a:moveTo>
                    <a:pt x="22" y="7"/>
                  </a:moveTo>
                  <a:cubicBezTo>
                    <a:pt x="17" y="9"/>
                    <a:pt x="7" y="13"/>
                    <a:pt x="0" y="0"/>
                  </a:cubicBezTo>
                </a:path>
              </a:pathLst>
            </a:cu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44" name="Freeform 308">
              <a:extLst>
                <a:ext uri="{FF2B5EF4-FFF2-40B4-BE49-F238E27FC236}">
                  <a16:creationId xmlns:a16="http://schemas.microsoft.com/office/drawing/2014/main" id="{CF3E70A9-81F1-492D-88F5-1B806C3C1F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32851" y="3478120"/>
              <a:ext cx="37690" cy="28522"/>
            </a:xfrm>
            <a:custGeom>
              <a:avLst/>
              <a:gdLst>
                <a:gd name="T0" fmla="*/ 18 w 18"/>
                <a:gd name="T1" fmla="*/ 6 h 13"/>
                <a:gd name="T2" fmla="*/ 0 w 18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18" y="6"/>
                  </a:moveTo>
                  <a:cubicBezTo>
                    <a:pt x="18" y="6"/>
                    <a:pt x="8" y="13"/>
                    <a:pt x="0" y="0"/>
                  </a:cubicBezTo>
                </a:path>
              </a:pathLst>
            </a:cu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45" name="Line 309">
              <a:extLst>
                <a:ext uri="{FF2B5EF4-FFF2-40B4-BE49-F238E27FC236}">
                  <a16:creationId xmlns:a16="http://schemas.microsoft.com/office/drawing/2014/main" id="{CD0637A6-DB84-425E-A3A9-D801732465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55603" y="3163355"/>
              <a:ext cx="121222" cy="0"/>
            </a:xfrm>
            <a:prstGeom prst="lin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46" name="Freeform 310">
              <a:extLst>
                <a:ext uri="{FF2B5EF4-FFF2-40B4-BE49-F238E27FC236}">
                  <a16:creationId xmlns:a16="http://schemas.microsoft.com/office/drawing/2014/main" id="{A67948EF-4885-4D2E-9C6C-1F3B53B10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5960" y="3128720"/>
              <a:ext cx="87606" cy="286243"/>
            </a:xfrm>
            <a:custGeom>
              <a:avLst/>
              <a:gdLst>
                <a:gd name="T0" fmla="*/ 0 w 86"/>
                <a:gd name="T1" fmla="*/ 0 h 281"/>
                <a:gd name="T2" fmla="*/ 86 w 86"/>
                <a:gd name="T3" fmla="*/ 0 h 281"/>
                <a:gd name="T4" fmla="*/ 86 w 86"/>
                <a:gd name="T5" fmla="*/ 281 h 281"/>
                <a:gd name="T6" fmla="*/ 0 w 86"/>
                <a:gd name="T7" fmla="*/ 28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" h="281">
                  <a:moveTo>
                    <a:pt x="0" y="0"/>
                  </a:moveTo>
                  <a:lnTo>
                    <a:pt x="86" y="0"/>
                  </a:lnTo>
                  <a:lnTo>
                    <a:pt x="86" y="281"/>
                  </a:lnTo>
                  <a:lnTo>
                    <a:pt x="0" y="281"/>
                  </a:lnTo>
                </a:path>
              </a:pathLst>
            </a:cu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47" name="Freeform 311">
              <a:extLst>
                <a:ext uri="{FF2B5EF4-FFF2-40B4-BE49-F238E27FC236}">
                  <a16:creationId xmlns:a16="http://schemas.microsoft.com/office/drawing/2014/main" id="{EC9A1976-EB4C-4025-9CEF-EF4EC6AF4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8722" y="3152149"/>
              <a:ext cx="87606" cy="288281"/>
            </a:xfrm>
            <a:custGeom>
              <a:avLst/>
              <a:gdLst>
                <a:gd name="T0" fmla="*/ 86 w 86"/>
                <a:gd name="T1" fmla="*/ 0 h 283"/>
                <a:gd name="T2" fmla="*/ 0 w 86"/>
                <a:gd name="T3" fmla="*/ 0 h 283"/>
                <a:gd name="T4" fmla="*/ 0 w 86"/>
                <a:gd name="T5" fmla="*/ 283 h 283"/>
                <a:gd name="T6" fmla="*/ 86 w 86"/>
                <a:gd name="T7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" h="283">
                  <a:moveTo>
                    <a:pt x="86" y="0"/>
                  </a:moveTo>
                  <a:lnTo>
                    <a:pt x="0" y="0"/>
                  </a:lnTo>
                  <a:lnTo>
                    <a:pt x="0" y="283"/>
                  </a:lnTo>
                  <a:lnTo>
                    <a:pt x="86" y="283"/>
                  </a:lnTo>
                </a:path>
              </a:pathLst>
            </a:cu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48" name="Freeform 312">
              <a:extLst>
                <a:ext uri="{FF2B5EF4-FFF2-40B4-BE49-F238E27FC236}">
                  <a16:creationId xmlns:a16="http://schemas.microsoft.com/office/drawing/2014/main" id="{F7AC89EB-8781-4541-AECB-EDB4794F3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9319" y="3141963"/>
              <a:ext cx="347366" cy="279112"/>
            </a:xfrm>
            <a:custGeom>
              <a:avLst/>
              <a:gdLst>
                <a:gd name="T0" fmla="*/ 133 w 163"/>
                <a:gd name="T1" fmla="*/ 131 h 131"/>
                <a:gd name="T2" fmla="*/ 87 w 163"/>
                <a:gd name="T3" fmla="*/ 43 h 131"/>
                <a:gd name="T4" fmla="*/ 63 w 163"/>
                <a:gd name="T5" fmla="*/ 41 h 131"/>
                <a:gd name="T6" fmla="*/ 35 w 163"/>
                <a:gd name="T7" fmla="*/ 69 h 131"/>
                <a:gd name="T8" fmla="*/ 0 w 163"/>
                <a:gd name="T9" fmla="*/ 61 h 131"/>
                <a:gd name="T10" fmla="*/ 35 w 163"/>
                <a:gd name="T11" fmla="*/ 15 h 131"/>
                <a:gd name="T12" fmla="*/ 59 w 163"/>
                <a:gd name="T13" fmla="*/ 0 h 131"/>
                <a:gd name="T14" fmla="*/ 112 w 163"/>
                <a:gd name="T15" fmla="*/ 0 h 131"/>
                <a:gd name="T16" fmla="*/ 163 w 163"/>
                <a:gd name="T17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3" h="131">
                  <a:moveTo>
                    <a:pt x="133" y="131"/>
                  </a:moveTo>
                  <a:cubicBezTo>
                    <a:pt x="87" y="43"/>
                    <a:pt x="87" y="43"/>
                    <a:pt x="87" y="43"/>
                  </a:cubicBezTo>
                  <a:cubicBezTo>
                    <a:pt x="83" y="43"/>
                    <a:pt x="63" y="41"/>
                    <a:pt x="63" y="41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13" y="86"/>
                    <a:pt x="0" y="61"/>
                    <a:pt x="0" y="61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47" y="0"/>
                    <a:pt x="59" y="0"/>
                    <a:pt x="5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63" y="23"/>
                    <a:pt x="163" y="23"/>
                    <a:pt x="163" y="23"/>
                  </a:cubicBezTo>
                </a:path>
              </a:pathLst>
            </a:cu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49" name="Freeform 313">
              <a:extLst>
                <a:ext uri="{FF2B5EF4-FFF2-40B4-BE49-F238E27FC236}">
                  <a16:creationId xmlns:a16="http://schemas.microsoft.com/office/drawing/2014/main" id="{2AA77EFF-69CE-4FA5-9486-12CCCDF49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7400" y="3354862"/>
              <a:ext cx="122240" cy="146687"/>
            </a:xfrm>
            <a:custGeom>
              <a:avLst/>
              <a:gdLst>
                <a:gd name="T0" fmla="*/ 57 w 57"/>
                <a:gd name="T1" fmla="*/ 28 h 69"/>
                <a:gd name="T2" fmla="*/ 24 w 57"/>
                <a:gd name="T3" fmla="*/ 38 h 69"/>
                <a:gd name="T4" fmla="*/ 0 w 57"/>
                <a:gd name="T5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69">
                  <a:moveTo>
                    <a:pt x="57" y="28"/>
                  </a:moveTo>
                  <a:cubicBezTo>
                    <a:pt x="55" y="34"/>
                    <a:pt x="41" y="69"/>
                    <a:pt x="24" y="3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50" name="Oval 314">
              <a:extLst>
                <a:ext uri="{FF2B5EF4-FFF2-40B4-BE49-F238E27FC236}">
                  <a16:creationId xmlns:a16="http://schemas.microsoft.com/office/drawing/2014/main" id="{C5DE4963-312C-4E2F-9667-D331FE1CBC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60861" y="3360974"/>
              <a:ext cx="13243" cy="13243"/>
            </a:xfrm>
            <a:prstGeom prst="ellips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51" name="Oval 315">
              <a:extLst>
                <a:ext uri="{FF2B5EF4-FFF2-40B4-BE49-F238E27FC236}">
                  <a16:creationId xmlns:a16="http://schemas.microsoft.com/office/drawing/2014/main" id="{4D476CE3-1444-4559-BA64-2EE339C86E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9203" y="3335508"/>
              <a:ext cx="12224" cy="13243"/>
            </a:xfrm>
            <a:prstGeom prst="ellips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</p:grpSp>
      <p:sp>
        <p:nvSpPr>
          <p:cNvPr id="116" name="TextBox 2">
            <a:extLst>
              <a:ext uri="{FF2B5EF4-FFF2-40B4-BE49-F238E27FC236}">
                <a16:creationId xmlns:a16="http://schemas.microsoft.com/office/drawing/2014/main" id="{C7AD7A1E-E974-4556-9195-9340B21B5B41}"/>
              </a:ext>
            </a:extLst>
          </p:cNvPr>
          <p:cNvSpPr txBox="1">
            <a:spLocks/>
          </p:cNvSpPr>
          <p:nvPr/>
        </p:nvSpPr>
        <p:spPr>
          <a:xfrm>
            <a:off x="1704770" y="1965170"/>
            <a:ext cx="924217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>
                <a:latin typeface="+mn-lt"/>
                <a:cs typeface="+mn-cs"/>
              </a:rPr>
              <a:t>Программа направлена на подготовку к успешной карьере в</a:t>
            </a:r>
            <a:r>
              <a:rPr lang="ru-RU" sz="2400" dirty="0"/>
              <a:t>:</a:t>
            </a:r>
            <a:endParaRPr lang="ru-RU" sz="2400" dirty="0">
              <a:latin typeface="+mn-lt"/>
              <a:cs typeface="+mn-cs"/>
            </a:endParaRPr>
          </a:p>
          <a:p>
            <a:pPr lvl="1" indent="-406400">
              <a:buFont typeface="Arial" panose="020B0604020202020204" pitchFamily="34" charset="0"/>
              <a:buChar char="•"/>
            </a:pPr>
            <a:r>
              <a:rPr lang="ru-RU" sz="2400" b="1" dirty="0">
                <a:solidFill>
                  <a:srgbClr val="C00000"/>
                </a:solidFill>
                <a:latin typeface="+mn-lt"/>
                <a:cs typeface="+mn-cs"/>
              </a:rPr>
              <a:t>Ведущих мировых компаниях </a:t>
            </a:r>
            <a:r>
              <a:rPr lang="ru-RU" sz="2400" dirty="0">
                <a:latin typeface="+mn-lt"/>
                <a:cs typeface="+mn-cs"/>
              </a:rPr>
              <a:t>из сферы </a:t>
            </a:r>
            <a:r>
              <a:rPr lang="ru-RU" sz="2400" b="1" dirty="0">
                <a:solidFill>
                  <a:srgbClr val="C00000"/>
                </a:solidFill>
                <a:latin typeface="+mn-lt"/>
                <a:cs typeface="+mn-cs"/>
              </a:rPr>
              <a:t>управленческого консалтинга</a:t>
            </a:r>
          </a:p>
          <a:p>
            <a:pPr lvl="1" indent="-406400">
              <a:buFont typeface="Arial" panose="020B0604020202020204" pitchFamily="34" charset="0"/>
              <a:buChar char="•"/>
            </a:pPr>
            <a:r>
              <a:rPr lang="ru-RU" sz="2400" b="1" dirty="0">
                <a:solidFill>
                  <a:srgbClr val="C00000"/>
                </a:solidFill>
                <a:latin typeface="+mn-lt"/>
                <a:cs typeface="+mn-cs"/>
              </a:rPr>
              <a:t>Стратегических подразделениях и подразделениях бизнес-развития </a:t>
            </a:r>
            <a:r>
              <a:rPr lang="ru-RU" sz="2400" dirty="0">
                <a:latin typeface="+mn-lt"/>
                <a:cs typeface="+mn-cs"/>
              </a:rPr>
              <a:t>в крупнейших компаниях России и мира</a:t>
            </a:r>
            <a:r>
              <a:rPr lang="ru-RU" sz="2400" b="1" dirty="0">
                <a:solidFill>
                  <a:schemeClr val="accent1"/>
                </a:solidFill>
                <a:latin typeface="+mn-lt"/>
                <a:cs typeface="+mn-cs"/>
              </a:rPr>
              <a:t> </a:t>
            </a:r>
            <a:r>
              <a:rPr lang="ru-RU" sz="2400" dirty="0">
                <a:latin typeface="+mn-lt"/>
                <a:cs typeface="+mn-cs"/>
              </a:rPr>
              <a:t>финансового, телекоммуникационного и технологического секторов</a:t>
            </a:r>
          </a:p>
        </p:txBody>
      </p:sp>
      <p:grpSp>
        <p:nvGrpSpPr>
          <p:cNvPr id="117" name="Group 61">
            <a:extLst>
              <a:ext uri="{FF2B5EF4-FFF2-40B4-BE49-F238E27FC236}">
                <a16:creationId xmlns:a16="http://schemas.microsoft.com/office/drawing/2014/main" id="{6C86BFFC-4D2B-4969-B4B4-5B6E90F17580}"/>
              </a:ext>
            </a:extLst>
          </p:cNvPr>
          <p:cNvGrpSpPr/>
          <p:nvPr/>
        </p:nvGrpSpPr>
        <p:grpSpPr>
          <a:xfrm>
            <a:off x="660418" y="2402882"/>
            <a:ext cx="744286" cy="747228"/>
            <a:chOff x="1317671" y="5714830"/>
            <a:chExt cx="368601" cy="370058"/>
          </a:xfrm>
        </p:grpSpPr>
        <p:sp>
          <p:nvSpPr>
            <p:cNvPr id="118" name="Oval 957">
              <a:extLst>
                <a:ext uri="{FF2B5EF4-FFF2-40B4-BE49-F238E27FC236}">
                  <a16:creationId xmlns:a16="http://schemas.microsoft.com/office/drawing/2014/main" id="{9692F18F-9D82-4364-BBFF-76C04FFD33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3893" y="5714830"/>
              <a:ext cx="32052" cy="32781"/>
            </a:xfrm>
            <a:prstGeom prst="ellips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19" name="Oval 958">
              <a:extLst>
                <a:ext uri="{FF2B5EF4-FFF2-40B4-BE49-F238E27FC236}">
                  <a16:creationId xmlns:a16="http://schemas.microsoft.com/office/drawing/2014/main" id="{8B095D01-7882-4ACF-BE9C-DD07D795E8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3762" y="5763637"/>
              <a:ext cx="32052" cy="32052"/>
            </a:xfrm>
            <a:prstGeom prst="ellips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20" name="Oval 959">
              <a:extLst>
                <a:ext uri="{FF2B5EF4-FFF2-40B4-BE49-F238E27FC236}">
                  <a16:creationId xmlns:a16="http://schemas.microsoft.com/office/drawing/2014/main" id="{009B7EF7-3B29-4192-8A28-DFEE11E229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7671" y="5827741"/>
              <a:ext cx="32052" cy="32052"/>
            </a:xfrm>
            <a:prstGeom prst="ellips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21" name="Freeform 1094">
              <a:extLst>
                <a:ext uri="{FF2B5EF4-FFF2-40B4-BE49-F238E27FC236}">
                  <a16:creationId xmlns:a16="http://schemas.microsoft.com/office/drawing/2014/main" id="{A57AC0F0-09AD-449D-AB25-D77BC716A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128" y="5891846"/>
              <a:ext cx="32052" cy="16026"/>
            </a:xfrm>
            <a:custGeom>
              <a:avLst/>
              <a:gdLst>
                <a:gd name="T0" fmla="*/ 0 w 44"/>
                <a:gd name="T1" fmla="*/ 11 h 22"/>
                <a:gd name="T2" fmla="*/ 44 w 44"/>
                <a:gd name="T3" fmla="*/ 0 h 22"/>
                <a:gd name="T4" fmla="*/ 44 w 44"/>
                <a:gd name="T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22">
                  <a:moveTo>
                    <a:pt x="0" y="11"/>
                  </a:moveTo>
                  <a:lnTo>
                    <a:pt x="44" y="0"/>
                  </a:lnTo>
                  <a:lnTo>
                    <a:pt x="44" y="22"/>
                  </a:lnTo>
                </a:path>
              </a:pathLst>
            </a:cu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22" name="Line 1095">
              <a:extLst>
                <a:ext uri="{FF2B5EF4-FFF2-40B4-BE49-F238E27FC236}">
                  <a16:creationId xmlns:a16="http://schemas.microsoft.com/office/drawing/2014/main" id="{47CDC6E2-4ECA-4116-BF64-F80E74FD81B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50050" y="6044823"/>
              <a:ext cx="12384" cy="40065"/>
            </a:xfrm>
            <a:prstGeom prst="lin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23" name="Freeform 1096">
              <a:extLst>
                <a:ext uri="{FF2B5EF4-FFF2-40B4-BE49-F238E27FC236}">
                  <a16:creationId xmlns:a16="http://schemas.microsoft.com/office/drawing/2014/main" id="{35A63DD9-9AEB-410E-9198-ABFEE9237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708" y="5779663"/>
              <a:ext cx="234564" cy="281186"/>
            </a:xfrm>
            <a:custGeom>
              <a:avLst/>
              <a:gdLst>
                <a:gd name="T0" fmla="*/ 29 w 117"/>
                <a:gd name="T1" fmla="*/ 88 h 140"/>
                <a:gd name="T2" fmla="*/ 44 w 117"/>
                <a:gd name="T3" fmla="*/ 121 h 140"/>
                <a:gd name="T4" fmla="*/ 52 w 117"/>
                <a:gd name="T5" fmla="*/ 128 h 140"/>
                <a:gd name="T6" fmla="*/ 83 w 117"/>
                <a:gd name="T7" fmla="*/ 140 h 140"/>
                <a:gd name="T8" fmla="*/ 95 w 117"/>
                <a:gd name="T9" fmla="*/ 130 h 140"/>
                <a:gd name="T10" fmla="*/ 101 w 117"/>
                <a:gd name="T11" fmla="*/ 96 h 140"/>
                <a:gd name="T12" fmla="*/ 112 w 117"/>
                <a:gd name="T13" fmla="*/ 93 h 140"/>
                <a:gd name="T14" fmla="*/ 117 w 117"/>
                <a:gd name="T15" fmla="*/ 87 h 140"/>
                <a:gd name="T16" fmla="*/ 116 w 117"/>
                <a:gd name="T17" fmla="*/ 82 h 140"/>
                <a:gd name="T18" fmla="*/ 103 w 117"/>
                <a:gd name="T19" fmla="*/ 59 h 140"/>
                <a:gd name="T20" fmla="*/ 103 w 117"/>
                <a:gd name="T21" fmla="*/ 53 h 140"/>
                <a:gd name="T22" fmla="*/ 105 w 117"/>
                <a:gd name="T23" fmla="*/ 43 h 140"/>
                <a:gd name="T24" fmla="*/ 101 w 117"/>
                <a:gd name="T25" fmla="*/ 0 h 140"/>
                <a:gd name="T26" fmla="*/ 61 w 117"/>
                <a:gd name="T27" fmla="*/ 40 h 140"/>
                <a:gd name="T28" fmla="*/ 33 w 117"/>
                <a:gd name="T29" fmla="*/ 52 h 140"/>
                <a:gd name="T30" fmla="*/ 18 w 117"/>
                <a:gd name="T31" fmla="*/ 48 h 140"/>
                <a:gd name="T32" fmla="*/ 9 w 117"/>
                <a:gd name="T33" fmla="*/ 49 h 140"/>
                <a:gd name="T34" fmla="*/ 12 w 117"/>
                <a:gd name="T35" fmla="*/ 80 h 140"/>
                <a:gd name="T36" fmla="*/ 29 w 117"/>
                <a:gd name="T37" fmla="*/ 8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7" h="140">
                  <a:moveTo>
                    <a:pt x="29" y="88"/>
                  </a:moveTo>
                  <a:cubicBezTo>
                    <a:pt x="29" y="101"/>
                    <a:pt x="34" y="113"/>
                    <a:pt x="44" y="121"/>
                  </a:cubicBezTo>
                  <a:cubicBezTo>
                    <a:pt x="52" y="128"/>
                    <a:pt x="52" y="128"/>
                    <a:pt x="52" y="128"/>
                  </a:cubicBezTo>
                  <a:cubicBezTo>
                    <a:pt x="60" y="136"/>
                    <a:pt x="71" y="140"/>
                    <a:pt x="83" y="140"/>
                  </a:cubicBezTo>
                  <a:cubicBezTo>
                    <a:pt x="89" y="140"/>
                    <a:pt x="94" y="136"/>
                    <a:pt x="95" y="130"/>
                  </a:cubicBezTo>
                  <a:cubicBezTo>
                    <a:pt x="101" y="96"/>
                    <a:pt x="101" y="96"/>
                    <a:pt x="101" y="96"/>
                  </a:cubicBezTo>
                  <a:cubicBezTo>
                    <a:pt x="112" y="93"/>
                    <a:pt x="112" y="93"/>
                    <a:pt x="112" y="93"/>
                  </a:cubicBezTo>
                  <a:cubicBezTo>
                    <a:pt x="115" y="93"/>
                    <a:pt x="117" y="90"/>
                    <a:pt x="117" y="87"/>
                  </a:cubicBezTo>
                  <a:cubicBezTo>
                    <a:pt x="117" y="85"/>
                    <a:pt x="117" y="83"/>
                    <a:pt x="116" y="82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2" y="57"/>
                    <a:pt x="102" y="55"/>
                    <a:pt x="103" y="53"/>
                  </a:cubicBezTo>
                  <a:cubicBezTo>
                    <a:pt x="104" y="50"/>
                    <a:pt x="105" y="46"/>
                    <a:pt x="105" y="43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5" y="47"/>
                    <a:pt x="11" y="47"/>
                    <a:pt x="9" y="49"/>
                  </a:cubicBezTo>
                  <a:cubicBezTo>
                    <a:pt x="0" y="56"/>
                    <a:pt x="8" y="71"/>
                    <a:pt x="12" y="80"/>
                  </a:cubicBezTo>
                  <a:cubicBezTo>
                    <a:pt x="15" y="87"/>
                    <a:pt x="22" y="90"/>
                    <a:pt x="29" y="88"/>
                  </a:cubicBezTo>
                  <a:close/>
                </a:path>
              </a:pathLst>
            </a:cu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24" name="Freeform 1152">
              <a:extLst>
                <a:ext uri="{FF2B5EF4-FFF2-40B4-BE49-F238E27FC236}">
                  <a16:creationId xmlns:a16="http://schemas.microsoft.com/office/drawing/2014/main" id="{8126AA9F-76A1-4591-B5CF-FBE69C957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945" y="5731585"/>
              <a:ext cx="168274" cy="48078"/>
            </a:xfrm>
            <a:custGeom>
              <a:avLst/>
              <a:gdLst>
                <a:gd name="T0" fmla="*/ 0 w 231"/>
                <a:gd name="T1" fmla="*/ 0 h 66"/>
                <a:gd name="T2" fmla="*/ 88 w 231"/>
                <a:gd name="T3" fmla="*/ 0 h 66"/>
                <a:gd name="T4" fmla="*/ 88 w 231"/>
                <a:gd name="T5" fmla="*/ 66 h 66"/>
                <a:gd name="T6" fmla="*/ 231 w 231"/>
                <a:gd name="T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66">
                  <a:moveTo>
                    <a:pt x="0" y="0"/>
                  </a:moveTo>
                  <a:lnTo>
                    <a:pt x="88" y="0"/>
                  </a:lnTo>
                  <a:lnTo>
                    <a:pt x="88" y="66"/>
                  </a:lnTo>
                  <a:lnTo>
                    <a:pt x="231" y="66"/>
                  </a:lnTo>
                </a:path>
              </a:pathLst>
            </a:cu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25" name="Freeform 1153">
              <a:extLst>
                <a:ext uri="{FF2B5EF4-FFF2-40B4-BE49-F238E27FC236}">
                  <a16:creationId xmlns:a16="http://schemas.microsoft.com/office/drawing/2014/main" id="{15E9727F-2C03-4341-9CD6-6E5BEBFD2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815" y="5779663"/>
              <a:ext cx="216353" cy="32052"/>
            </a:xfrm>
            <a:custGeom>
              <a:avLst/>
              <a:gdLst>
                <a:gd name="T0" fmla="*/ 0 w 297"/>
                <a:gd name="T1" fmla="*/ 0 h 44"/>
                <a:gd name="T2" fmla="*/ 143 w 297"/>
                <a:gd name="T3" fmla="*/ 0 h 44"/>
                <a:gd name="T4" fmla="*/ 143 w 297"/>
                <a:gd name="T5" fmla="*/ 44 h 44"/>
                <a:gd name="T6" fmla="*/ 297 w 297"/>
                <a:gd name="T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7" h="44">
                  <a:moveTo>
                    <a:pt x="0" y="0"/>
                  </a:moveTo>
                  <a:lnTo>
                    <a:pt x="143" y="0"/>
                  </a:lnTo>
                  <a:lnTo>
                    <a:pt x="143" y="44"/>
                  </a:lnTo>
                  <a:lnTo>
                    <a:pt x="297" y="44"/>
                  </a:lnTo>
                </a:path>
              </a:pathLst>
            </a:cu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26" name="Oval 1154">
              <a:extLst>
                <a:ext uri="{FF2B5EF4-FFF2-40B4-BE49-F238E27FC236}">
                  <a16:creationId xmlns:a16="http://schemas.microsoft.com/office/drawing/2014/main" id="{B739E7D4-6972-419E-A857-B9953745C6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9723" y="5907872"/>
              <a:ext cx="32052" cy="32052"/>
            </a:xfrm>
            <a:prstGeom prst="ellips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27" name="Freeform 1155">
              <a:extLst>
                <a:ext uri="{FF2B5EF4-FFF2-40B4-BE49-F238E27FC236}">
                  <a16:creationId xmlns:a16="http://schemas.microsoft.com/office/drawing/2014/main" id="{11CB7531-2547-4DDF-88FC-00870AC5A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776" y="5875820"/>
              <a:ext cx="92515" cy="48078"/>
            </a:xfrm>
            <a:custGeom>
              <a:avLst/>
              <a:gdLst>
                <a:gd name="T0" fmla="*/ 0 w 127"/>
                <a:gd name="T1" fmla="*/ 66 h 66"/>
                <a:gd name="T2" fmla="*/ 55 w 127"/>
                <a:gd name="T3" fmla="*/ 66 h 66"/>
                <a:gd name="T4" fmla="*/ 55 w 127"/>
                <a:gd name="T5" fmla="*/ 0 h 66"/>
                <a:gd name="T6" fmla="*/ 127 w 127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66">
                  <a:moveTo>
                    <a:pt x="0" y="66"/>
                  </a:moveTo>
                  <a:lnTo>
                    <a:pt x="55" y="66"/>
                  </a:lnTo>
                  <a:lnTo>
                    <a:pt x="55" y="0"/>
                  </a:lnTo>
                  <a:lnTo>
                    <a:pt x="127" y="0"/>
                  </a:lnTo>
                </a:path>
              </a:pathLst>
            </a:cu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28" name="Oval 1156">
              <a:extLst>
                <a:ext uri="{FF2B5EF4-FFF2-40B4-BE49-F238E27FC236}">
                  <a16:creationId xmlns:a16="http://schemas.microsoft.com/office/drawing/2014/main" id="{12AD2A4A-D26B-411F-BDD0-8B696B161A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7802" y="5963964"/>
              <a:ext cx="32052" cy="32781"/>
            </a:xfrm>
            <a:prstGeom prst="ellips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29" name="Freeform 1157">
              <a:extLst>
                <a:ext uri="{FF2B5EF4-FFF2-40B4-BE49-F238E27FC236}">
                  <a16:creationId xmlns:a16="http://schemas.microsoft.com/office/drawing/2014/main" id="{3B10C7C3-DC41-48CD-8E28-C38A5FAA8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9854" y="5923898"/>
              <a:ext cx="40065" cy="56820"/>
            </a:xfrm>
            <a:custGeom>
              <a:avLst/>
              <a:gdLst>
                <a:gd name="T0" fmla="*/ 0 w 55"/>
                <a:gd name="T1" fmla="*/ 78 h 78"/>
                <a:gd name="T2" fmla="*/ 55 w 55"/>
                <a:gd name="T3" fmla="*/ 78 h 78"/>
                <a:gd name="T4" fmla="*/ 55 w 55"/>
                <a:gd name="T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5" h="78">
                  <a:moveTo>
                    <a:pt x="0" y="78"/>
                  </a:moveTo>
                  <a:lnTo>
                    <a:pt x="55" y="78"/>
                  </a:lnTo>
                  <a:lnTo>
                    <a:pt x="55" y="0"/>
                  </a:lnTo>
                </a:path>
              </a:pathLst>
            </a:cu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30" name="Line 1158">
              <a:extLst>
                <a:ext uri="{FF2B5EF4-FFF2-40B4-BE49-F238E27FC236}">
                  <a16:creationId xmlns:a16="http://schemas.microsoft.com/office/drawing/2014/main" id="{01706391-A84E-431D-8ABF-83BA7354EB7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49723" y="5843767"/>
              <a:ext cx="236750" cy="0"/>
            </a:xfrm>
            <a:prstGeom prst="lin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31" name="Line 1159">
              <a:extLst>
                <a:ext uri="{FF2B5EF4-FFF2-40B4-BE49-F238E27FC236}">
                  <a16:creationId xmlns:a16="http://schemas.microsoft.com/office/drawing/2014/main" id="{99856C93-A4CD-4CD5-92CD-57B7E10A91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453893" y="5811715"/>
              <a:ext cx="24039" cy="0"/>
            </a:xfrm>
            <a:prstGeom prst="lin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32" name="Line 1160">
              <a:extLst>
                <a:ext uri="{FF2B5EF4-FFF2-40B4-BE49-F238E27FC236}">
                  <a16:creationId xmlns:a16="http://schemas.microsoft.com/office/drawing/2014/main" id="{EA723D63-0040-4629-A1F6-899ABA30C28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73762" y="5875820"/>
              <a:ext cx="24039" cy="0"/>
            </a:xfrm>
            <a:prstGeom prst="lin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33" name="Line 1161">
              <a:extLst>
                <a:ext uri="{FF2B5EF4-FFF2-40B4-BE49-F238E27FC236}">
                  <a16:creationId xmlns:a16="http://schemas.microsoft.com/office/drawing/2014/main" id="{886E69D9-33FB-479A-911B-F60494201B7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421841" y="5811715"/>
              <a:ext cx="16026" cy="0"/>
            </a:xfrm>
            <a:prstGeom prst="lin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34" name="Line 1162">
              <a:extLst>
                <a:ext uri="{FF2B5EF4-FFF2-40B4-BE49-F238E27FC236}">
                  <a16:creationId xmlns:a16="http://schemas.microsoft.com/office/drawing/2014/main" id="{CEFB6830-3602-4931-B0CE-EB3A4F8ED0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45880" y="6020783"/>
              <a:ext cx="48078" cy="0"/>
            </a:xfrm>
            <a:prstGeom prst="lin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35" name="Line 1163">
              <a:extLst>
                <a:ext uri="{FF2B5EF4-FFF2-40B4-BE49-F238E27FC236}">
                  <a16:creationId xmlns:a16="http://schemas.microsoft.com/office/drawing/2014/main" id="{0B82E8F0-2807-4D6E-8DF8-94B3B25FF4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65749" y="6020783"/>
              <a:ext cx="16026" cy="0"/>
            </a:xfrm>
            <a:prstGeom prst="lin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  <p:sp>
          <p:nvSpPr>
            <p:cNvPr id="136" name="Line 1164">
              <a:extLst>
                <a:ext uri="{FF2B5EF4-FFF2-40B4-BE49-F238E27FC236}">
                  <a16:creationId xmlns:a16="http://schemas.microsoft.com/office/drawing/2014/main" id="{323E8766-68F0-4A62-B261-8142C1186D8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41710" y="5972705"/>
              <a:ext cx="24039" cy="0"/>
            </a:xfrm>
            <a:prstGeom prst="lin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</p:txBody>
        </p:sp>
      </p:grpSp>
      <p:cxnSp>
        <p:nvCxnSpPr>
          <p:cNvPr id="114" name="Straight Connector 81">
            <a:extLst>
              <a:ext uri="{FF2B5EF4-FFF2-40B4-BE49-F238E27FC236}">
                <a16:creationId xmlns:a16="http://schemas.microsoft.com/office/drawing/2014/main" id="{9C6F5353-39C1-4EF9-8176-969F965AE953}"/>
              </a:ext>
            </a:extLst>
          </p:cNvPr>
          <p:cNvCxnSpPr>
            <a:cxnSpLocks/>
          </p:cNvCxnSpPr>
          <p:nvPr/>
        </p:nvCxnSpPr>
        <p:spPr bwMode="gray">
          <a:xfrm>
            <a:off x="127000" y="4403570"/>
            <a:ext cx="10844158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82">
            <a:extLst>
              <a:ext uri="{FF2B5EF4-FFF2-40B4-BE49-F238E27FC236}">
                <a16:creationId xmlns:a16="http://schemas.microsoft.com/office/drawing/2014/main" id="{31605F85-DF3C-4D4E-B0D7-BA041E4134C3}"/>
              </a:ext>
            </a:extLst>
          </p:cNvPr>
          <p:cNvCxnSpPr>
            <a:cxnSpLocks/>
          </p:cNvCxnSpPr>
          <p:nvPr/>
        </p:nvCxnSpPr>
        <p:spPr bwMode="gray">
          <a:xfrm>
            <a:off x="127000" y="6613370"/>
            <a:ext cx="10844158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1" name="Рисунок 160">
            <a:extLst>
              <a:ext uri="{FF2B5EF4-FFF2-40B4-BE49-F238E27FC236}">
                <a16:creationId xmlns:a16="http://schemas.microsoft.com/office/drawing/2014/main" id="{1A5235BD-236F-224A-9654-5ACCB9E09F7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2090" y="7541187"/>
            <a:ext cx="2352142" cy="282257"/>
          </a:xfrm>
          <a:prstGeom prst="rect">
            <a:avLst/>
          </a:prstGeom>
        </p:spPr>
      </p:pic>
      <p:pic>
        <p:nvPicPr>
          <p:cNvPr id="162" name="Рисунок 161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87D1BB29-B1C7-354D-8093-5713BE43B1F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5562" y="2019277"/>
            <a:ext cx="4588368" cy="1118124"/>
          </a:xfrm>
          <a:prstGeom prst="rect">
            <a:avLst/>
          </a:prstGeom>
        </p:spPr>
      </p:pic>
      <p:pic>
        <p:nvPicPr>
          <p:cNvPr id="163" name="Рисунок 162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43721A86-59C6-ED48-A33E-D87ABD80730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65029" y="3138061"/>
            <a:ext cx="2456286" cy="553048"/>
          </a:xfrm>
          <a:prstGeom prst="rect">
            <a:avLst/>
          </a:prstGeom>
        </p:spPr>
      </p:pic>
      <p:pic>
        <p:nvPicPr>
          <p:cNvPr id="167" name="Рисунок 166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7E4C3775-8A6D-9D40-9558-AC4D01C8330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0884" y="4837441"/>
            <a:ext cx="1599823" cy="868704"/>
          </a:xfrm>
          <a:prstGeom prst="rect">
            <a:avLst/>
          </a:prstGeom>
        </p:spPr>
      </p:pic>
      <p:pic>
        <p:nvPicPr>
          <p:cNvPr id="169" name="Рисунок 168">
            <a:extLst>
              <a:ext uri="{FF2B5EF4-FFF2-40B4-BE49-F238E27FC236}">
                <a16:creationId xmlns:a16="http://schemas.microsoft.com/office/drawing/2014/main" id="{9F8D7884-A7B5-E64C-9C2D-DD7FA3B54A6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1031" y="7163763"/>
            <a:ext cx="2521059" cy="1022755"/>
          </a:xfrm>
          <a:prstGeom prst="rect">
            <a:avLst/>
          </a:prstGeom>
        </p:spPr>
      </p:pic>
      <p:pic>
        <p:nvPicPr>
          <p:cNvPr id="171" name="Рисунок 170">
            <a:extLst>
              <a:ext uri="{FF2B5EF4-FFF2-40B4-BE49-F238E27FC236}">
                <a16:creationId xmlns:a16="http://schemas.microsoft.com/office/drawing/2014/main" id="{464D5D64-F4B4-4C42-B6E9-9091D9C21AB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0545" y="5712317"/>
            <a:ext cx="1085517" cy="1141396"/>
          </a:xfrm>
          <a:prstGeom prst="rect">
            <a:avLst/>
          </a:prstGeom>
        </p:spPr>
      </p:pic>
      <p:pic>
        <p:nvPicPr>
          <p:cNvPr id="175" name="Рисунок 174">
            <a:extLst>
              <a:ext uri="{FF2B5EF4-FFF2-40B4-BE49-F238E27FC236}">
                <a16:creationId xmlns:a16="http://schemas.microsoft.com/office/drawing/2014/main" id="{6CB8C43E-C246-2647-8150-C66B32F7815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86953" y="4770156"/>
            <a:ext cx="2463800" cy="819527"/>
          </a:xfrm>
          <a:prstGeom prst="rect">
            <a:avLst/>
          </a:prstGeom>
        </p:spPr>
      </p:pic>
      <p:sp>
        <p:nvSpPr>
          <p:cNvPr id="176" name="TextBox 175">
            <a:extLst>
              <a:ext uri="{FF2B5EF4-FFF2-40B4-BE49-F238E27FC236}">
                <a16:creationId xmlns:a16="http://schemas.microsoft.com/office/drawing/2014/main" id="{235C5158-E030-6540-8BB0-A052D9124196}"/>
              </a:ext>
            </a:extLst>
          </p:cNvPr>
          <p:cNvSpPr txBox="1"/>
          <p:nvPr/>
        </p:nvSpPr>
        <p:spPr>
          <a:xfrm>
            <a:off x="9079485" y="8122340"/>
            <a:ext cx="70131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dirty="0">
                <a:solidFill>
                  <a:srgbClr val="C00000"/>
                </a:solidFill>
              </a:rPr>
              <a:t>… а также ведущие российские и международные компании – партнеры ВШБ</a:t>
            </a:r>
          </a:p>
        </p:txBody>
      </p:sp>
    </p:spTree>
    <p:extLst>
      <p:ext uri="{BB962C8B-B14F-4D97-AF65-F5344CB8AC3E}">
        <p14:creationId xmlns:p14="http://schemas.microsoft.com/office/powerpoint/2010/main" val="2227093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/>
          </p:cNvSpPr>
          <p:nvPr/>
        </p:nvSpPr>
        <p:spPr>
          <a:xfrm>
            <a:off x="1041400" y="775094"/>
            <a:ext cx="14905664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ru-RU" sz="2800" b="1" spc="-15" dirty="0">
                <a:solidFill>
                  <a:schemeClr val="bg1"/>
                </a:solidFill>
                <a:latin typeface="HSE Sans"/>
                <a:ea typeface="+mn-ea"/>
                <a:cs typeface="+mn-cs"/>
              </a:rPr>
              <a:t>БАКАЛАВРИАТ ВШБ : ПРАВИЛА ПРИЕМА 2021</a:t>
            </a: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0969447D-71AA-4FCE-B178-922B586EE92E}"/>
              </a:ext>
            </a:extLst>
          </p:cNvPr>
          <p:cNvSpPr/>
          <p:nvPr/>
        </p:nvSpPr>
        <p:spPr>
          <a:xfrm>
            <a:off x="0" y="381000"/>
            <a:ext cx="812800" cy="1231900"/>
          </a:xfrm>
          <a:custGeom>
            <a:avLst/>
            <a:gdLst/>
            <a:ahLst/>
            <a:cxnLst/>
            <a:rect l="l" t="t" r="r" b="b"/>
            <a:pathLst>
              <a:path w="16256000" h="965200">
                <a:moveTo>
                  <a:pt x="16256000" y="0"/>
                </a:moveTo>
                <a:lnTo>
                  <a:pt x="0" y="0"/>
                </a:lnTo>
                <a:lnTo>
                  <a:pt x="0" y="965200"/>
                </a:lnTo>
                <a:lnTo>
                  <a:pt x="16256000" y="9652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CB2F0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2">
            <a:extLst>
              <a:ext uri="{FF2B5EF4-FFF2-40B4-BE49-F238E27FC236}">
                <a16:creationId xmlns:a16="http://schemas.microsoft.com/office/drawing/2014/main" id="{240C46CC-2810-44E3-A387-9F0C2BB4F798}"/>
              </a:ext>
            </a:extLst>
          </p:cNvPr>
          <p:cNvSpPr txBox="1">
            <a:spLocks/>
          </p:cNvSpPr>
          <p:nvPr/>
        </p:nvSpPr>
        <p:spPr>
          <a:xfrm>
            <a:off x="1041400" y="691448"/>
            <a:ext cx="15252701" cy="652102"/>
          </a:xfrm>
          <a:prstGeom prst="rect">
            <a:avLst/>
          </a:prstGeom>
        </p:spPr>
        <p:txBody>
          <a:bodyPr vert="horz" wrap="square" lIns="0" tIns="97155" rIns="0" bIns="0" rtlCol="0">
            <a:spAutoFit/>
          </a:bodyPr>
          <a:lstStyle>
            <a:lvl1pPr>
              <a:defRPr sz="4400" b="1" i="0">
                <a:solidFill>
                  <a:schemeClr val="tx1"/>
                </a:solidFill>
                <a:latin typeface="Myriad Pro Black"/>
                <a:ea typeface="+mj-ea"/>
                <a:cs typeface="Myriad Pro Black"/>
              </a:defRPr>
            </a:lvl1pPr>
          </a:lstStyle>
          <a:p>
            <a:pPr marL="17145"/>
            <a:r>
              <a:rPr lang="ru-RU" sz="3600" kern="0" spc="45" dirty="0">
                <a:solidFill>
                  <a:srgbClr val="C00000"/>
                </a:solidFill>
                <a:latin typeface="HSE Sans"/>
                <a:cs typeface="Arial" panose="020B0604020202020204" pitchFamily="34" charset="0"/>
              </a:rPr>
              <a:t>ЧЕМУ МЫ УЧИМ? </a:t>
            </a:r>
            <a:r>
              <a:rPr lang="ru-RU" sz="3600" b="0" kern="0" spc="45" dirty="0">
                <a:latin typeface="HSE Sans"/>
                <a:cs typeface="Arial" panose="020B0604020202020204" pitchFamily="34" charset="0"/>
              </a:rPr>
              <a:t>– КОМПЕТЕНЦИИ, УМЕНИЯ, НАВЫКИ</a:t>
            </a:r>
            <a:endParaRPr lang="ru-RU" sz="3600" b="0" kern="0" spc="-5" dirty="0">
              <a:latin typeface="HSE Sans"/>
              <a:cs typeface="Arial" panose="020B0604020202020204" pitchFamily="34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9CB9971E-DC43-1F4E-97B7-B9C967A69F5F}"/>
              </a:ext>
            </a:extLst>
          </p:cNvPr>
          <p:cNvSpPr txBox="1">
            <a:spLocks/>
          </p:cNvSpPr>
          <p:nvPr/>
        </p:nvSpPr>
        <p:spPr>
          <a:xfrm>
            <a:off x="795867" y="2635971"/>
            <a:ext cx="4699000" cy="6471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600" lvl="1" indent="0">
              <a:buNone/>
            </a:pPr>
            <a:r>
              <a:rPr lang="ru-RU" sz="2200" dirty="0">
                <a:latin typeface="+mn-lt"/>
                <a:cs typeface="+mn-cs"/>
                <a:sym typeface="Arial" panose="020B0604020202020204" pitchFamily="34" charset="0"/>
              </a:rPr>
              <a:t>Приоритет программы </a:t>
            </a:r>
            <a:r>
              <a:rPr lang="ru-RU" sz="2200" spc="-1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- развитие </a:t>
            </a:r>
            <a:r>
              <a:rPr lang="ru-RU" sz="2200" b="1" spc="-10" dirty="0">
                <a:solidFill>
                  <a:srgbClr val="C00000"/>
                </a:solidFill>
                <a:latin typeface="+mn-lt"/>
                <a:cs typeface="+mn-cs"/>
                <a:sym typeface="Arial" panose="020B0604020202020204" pitchFamily="34" charset="0"/>
              </a:rPr>
              <a:t>лидерских качеств и навыков</a:t>
            </a:r>
            <a:r>
              <a:rPr lang="ru-RU" sz="2200" b="1" spc="-10" dirty="0">
                <a:solidFill>
                  <a:schemeClr val="accent1"/>
                </a:solidFill>
                <a:latin typeface="+mn-lt"/>
                <a:cs typeface="+mn-cs"/>
                <a:sym typeface="Arial" panose="020B0604020202020204" pitchFamily="34" charset="0"/>
              </a:rPr>
              <a:t>, </a:t>
            </a:r>
            <a:r>
              <a:rPr lang="ru-RU" sz="2200" spc="-1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помогающих успешному карьерному раз-витию и являющихся</a:t>
            </a:r>
            <a:r>
              <a:rPr lang="ru-RU" sz="2200" b="1" spc="-10" dirty="0">
                <a:solidFill>
                  <a:schemeClr val="accent1"/>
                </a:solidFill>
                <a:latin typeface="+mn-lt"/>
                <a:cs typeface="+mn-cs"/>
                <a:sym typeface="Arial" panose="020B0604020202020204" pitchFamily="34" charset="0"/>
              </a:rPr>
              <a:t> </a:t>
            </a:r>
            <a:r>
              <a:rPr lang="ru-RU" sz="2200" b="1" spc="-10" dirty="0">
                <a:solidFill>
                  <a:srgbClr val="C00000"/>
                </a:solidFill>
                <a:latin typeface="+mn-lt"/>
                <a:cs typeface="+mn-cs"/>
                <a:sym typeface="Arial" panose="020B0604020202020204" pitchFamily="34" charset="0"/>
              </a:rPr>
              <a:t>значимыми критериями отбора высоко</a:t>
            </a:r>
            <a:r>
              <a:rPr lang="en-US" sz="2200" b="1" spc="-10" dirty="0">
                <a:solidFill>
                  <a:srgbClr val="C00000"/>
                </a:solidFill>
                <a:latin typeface="+mn-lt"/>
                <a:cs typeface="+mn-cs"/>
                <a:sym typeface="Arial" panose="020B0604020202020204" pitchFamily="34" charset="0"/>
              </a:rPr>
              <a:t>-</a:t>
            </a:r>
            <a:r>
              <a:rPr lang="ru-RU" sz="2200" b="1" spc="-10" dirty="0">
                <a:solidFill>
                  <a:srgbClr val="C00000"/>
                </a:solidFill>
                <a:latin typeface="+mn-lt"/>
                <a:cs typeface="+mn-cs"/>
                <a:sym typeface="Arial" panose="020B0604020202020204" pitchFamily="34" charset="0"/>
              </a:rPr>
              <a:t>потенциальных сотрудников </a:t>
            </a:r>
            <a:r>
              <a:rPr lang="ru-RU" sz="2200" spc="-1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для многих работодателей:</a:t>
            </a:r>
          </a:p>
          <a:p>
            <a:pPr lvl="2">
              <a:spcAft>
                <a:spcPts val="0"/>
              </a:spcAft>
              <a:buFont typeface="Wingdings" pitchFamily="2" charset="2"/>
              <a:buChar char="§"/>
            </a:pP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Желание брать ответственность</a:t>
            </a:r>
          </a:p>
          <a:p>
            <a:pPr lvl="2">
              <a:spcAft>
                <a:spcPts val="0"/>
              </a:spcAft>
              <a:buFont typeface="Wingdings" pitchFamily="2" charset="2"/>
              <a:buChar char="§"/>
            </a:pP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Инициативность и лидерство</a:t>
            </a:r>
          </a:p>
          <a:p>
            <a:pPr lvl="2">
              <a:spcAft>
                <a:spcPts val="0"/>
              </a:spcAft>
              <a:buFont typeface="Wingdings" pitchFamily="2" charset="2"/>
              <a:buChar char="§"/>
            </a:pP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Способность к самоанализу и системному саморазвитию</a:t>
            </a:r>
          </a:p>
          <a:p>
            <a:pPr lvl="2">
              <a:spcAft>
                <a:spcPts val="0"/>
              </a:spcAft>
              <a:buFont typeface="Wingdings" pitchFamily="2" charset="2"/>
              <a:buChar char="§"/>
            </a:pP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Навыки группового взаимодействия и командной работы</a:t>
            </a:r>
          </a:p>
          <a:p>
            <a:pPr lvl="2">
              <a:spcAft>
                <a:spcPts val="0"/>
              </a:spcAft>
              <a:buFont typeface="Wingdings" pitchFamily="2" charset="2"/>
              <a:buChar char="§"/>
            </a:pP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Критическое и креативное мышление</a:t>
            </a:r>
          </a:p>
          <a:p>
            <a:pPr lvl="2">
              <a:buFont typeface="Wingdings" pitchFamily="2" charset="2"/>
              <a:buChar char="§"/>
            </a:pP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Умение аргументированно вести дискуссии и защищать свою позицию</a:t>
            </a:r>
          </a:p>
        </p:txBody>
      </p:sp>
      <p:sp>
        <p:nvSpPr>
          <p:cNvPr id="106" name="object 2">
            <a:extLst>
              <a:ext uri="{FF2B5EF4-FFF2-40B4-BE49-F238E27FC236}">
                <a16:creationId xmlns:a16="http://schemas.microsoft.com/office/drawing/2014/main" id="{AAF5D257-2992-3048-93BC-DC8A10B84FB0}"/>
              </a:ext>
            </a:extLst>
          </p:cNvPr>
          <p:cNvSpPr/>
          <p:nvPr/>
        </p:nvSpPr>
        <p:spPr>
          <a:xfrm>
            <a:off x="660400" y="1798384"/>
            <a:ext cx="4978400" cy="652103"/>
          </a:xfrm>
          <a:custGeom>
            <a:avLst/>
            <a:gdLst/>
            <a:ahLst/>
            <a:cxnLst/>
            <a:rect l="l" t="t" r="r" b="b"/>
            <a:pathLst>
              <a:path w="4978400" h="965835">
                <a:moveTo>
                  <a:pt x="4978400" y="0"/>
                </a:moveTo>
                <a:lnTo>
                  <a:pt x="0" y="0"/>
                </a:lnTo>
                <a:lnTo>
                  <a:pt x="0" y="965212"/>
                </a:lnTo>
                <a:lnTo>
                  <a:pt x="4978400" y="965212"/>
                </a:lnTo>
                <a:lnTo>
                  <a:pt x="4978400" y="0"/>
                </a:lnTo>
                <a:close/>
              </a:path>
            </a:pathLst>
          </a:custGeom>
          <a:solidFill>
            <a:srgbClr val="D87A7A"/>
          </a:solidFill>
          <a:ln>
            <a:solidFill>
              <a:srgbClr val="D87A7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ru-RU" sz="2400" b="1" dirty="0"/>
              <a:t>Лидерские качества и навыки</a:t>
            </a:r>
            <a:endParaRPr sz="2400" b="1" dirty="0"/>
          </a:p>
        </p:txBody>
      </p:sp>
      <p:sp>
        <p:nvSpPr>
          <p:cNvPr id="107" name="object 2">
            <a:extLst>
              <a:ext uri="{FF2B5EF4-FFF2-40B4-BE49-F238E27FC236}">
                <a16:creationId xmlns:a16="http://schemas.microsoft.com/office/drawing/2014/main" id="{8C6B5498-FAC8-284E-AB91-4A796F19CD94}"/>
              </a:ext>
            </a:extLst>
          </p:cNvPr>
          <p:cNvSpPr/>
          <p:nvPr/>
        </p:nvSpPr>
        <p:spPr>
          <a:xfrm>
            <a:off x="5731935" y="1798385"/>
            <a:ext cx="4978400" cy="652103"/>
          </a:xfrm>
          <a:custGeom>
            <a:avLst/>
            <a:gdLst/>
            <a:ahLst/>
            <a:cxnLst/>
            <a:rect l="l" t="t" r="r" b="b"/>
            <a:pathLst>
              <a:path w="4978400" h="965835">
                <a:moveTo>
                  <a:pt x="4978400" y="0"/>
                </a:moveTo>
                <a:lnTo>
                  <a:pt x="0" y="0"/>
                </a:lnTo>
                <a:lnTo>
                  <a:pt x="0" y="965212"/>
                </a:lnTo>
                <a:lnTo>
                  <a:pt x="4978400" y="965212"/>
                </a:lnTo>
                <a:lnTo>
                  <a:pt x="4978400" y="0"/>
                </a:lnTo>
                <a:close/>
              </a:path>
            </a:pathLst>
          </a:custGeom>
          <a:solidFill>
            <a:srgbClr val="B48285"/>
          </a:solidFill>
          <a:ln>
            <a:solidFill>
              <a:srgbClr val="B48285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ru-RU" sz="2400" b="1" dirty="0"/>
              <a:t>Инструментальные навыки</a:t>
            </a:r>
            <a:endParaRPr sz="2400" b="1" dirty="0"/>
          </a:p>
        </p:txBody>
      </p:sp>
      <p:sp>
        <p:nvSpPr>
          <p:cNvPr id="108" name="object 2">
            <a:extLst>
              <a:ext uri="{FF2B5EF4-FFF2-40B4-BE49-F238E27FC236}">
                <a16:creationId xmlns:a16="http://schemas.microsoft.com/office/drawing/2014/main" id="{B172E774-9D76-764C-8C53-9C147E65B112}"/>
              </a:ext>
            </a:extLst>
          </p:cNvPr>
          <p:cNvSpPr/>
          <p:nvPr/>
        </p:nvSpPr>
        <p:spPr>
          <a:xfrm>
            <a:off x="10833197" y="1798385"/>
            <a:ext cx="4978400" cy="652103"/>
          </a:xfrm>
          <a:custGeom>
            <a:avLst/>
            <a:gdLst/>
            <a:ahLst/>
            <a:cxnLst/>
            <a:rect l="l" t="t" r="r" b="b"/>
            <a:pathLst>
              <a:path w="4978400" h="965835">
                <a:moveTo>
                  <a:pt x="4978400" y="0"/>
                </a:moveTo>
                <a:lnTo>
                  <a:pt x="0" y="0"/>
                </a:lnTo>
                <a:lnTo>
                  <a:pt x="0" y="965212"/>
                </a:lnTo>
                <a:lnTo>
                  <a:pt x="4978400" y="965212"/>
                </a:lnTo>
                <a:lnTo>
                  <a:pt x="4978400" y="0"/>
                </a:lnTo>
                <a:close/>
              </a:path>
            </a:pathLst>
          </a:custGeom>
          <a:solidFill>
            <a:srgbClr val="EDD4CF"/>
          </a:solidFill>
        </p:spPr>
        <p:txBody>
          <a:bodyPr wrap="square" lIns="0" tIns="0" rIns="0" bIns="0" rtlCol="0" anchor="ctr"/>
          <a:lstStyle/>
          <a:p>
            <a:pPr algn="ctr"/>
            <a:r>
              <a:rPr lang="ru-RU" sz="2400" b="1" dirty="0"/>
              <a:t>Фундаментальные навыки и знания</a:t>
            </a:r>
            <a:endParaRPr sz="2400" b="1" dirty="0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92DF0072-0176-7D47-9060-2D6DE4D45FE6}"/>
              </a:ext>
            </a:extLst>
          </p:cNvPr>
          <p:cNvSpPr txBox="1">
            <a:spLocks/>
          </p:cNvSpPr>
          <p:nvPr/>
        </p:nvSpPr>
        <p:spPr>
          <a:xfrm>
            <a:off x="5778500" y="2635971"/>
            <a:ext cx="4699000" cy="4101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600" lvl="1" indent="0">
              <a:buNone/>
            </a:pP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Инструментальные навыки помогут выпускникам быстро начать создавать эффект для работодателя, что будет являться базой для </a:t>
            </a:r>
            <a:r>
              <a:rPr lang="ru-RU" sz="2200" b="1" dirty="0">
                <a:solidFill>
                  <a:srgbClr val="C00000"/>
                </a:solidFill>
                <a:latin typeface="+mn-lt"/>
                <a:cs typeface="+mn-cs"/>
                <a:sym typeface="Arial" panose="020B0604020202020204" pitchFamily="34" charset="0"/>
              </a:rPr>
              <a:t>быстрого</a:t>
            </a:r>
            <a:r>
              <a:rPr lang="en-US" sz="2200" b="1" dirty="0">
                <a:solidFill>
                  <a:srgbClr val="C00000"/>
                </a:solidFill>
                <a:latin typeface="+mn-lt"/>
                <a:cs typeface="+mn-cs"/>
                <a:sym typeface="Arial" panose="020B0604020202020204" pitchFamily="34" charset="0"/>
              </a:rPr>
              <a:t> </a:t>
            </a:r>
            <a:r>
              <a:rPr lang="ru-RU" sz="2200" b="1" dirty="0">
                <a:solidFill>
                  <a:srgbClr val="C00000"/>
                </a:solidFill>
                <a:latin typeface="+mn-lt"/>
                <a:cs typeface="+mn-cs"/>
                <a:sym typeface="Arial" panose="020B0604020202020204" pitchFamily="34" charset="0"/>
              </a:rPr>
              <a:t>карьерного роста</a:t>
            </a:r>
            <a:endParaRPr lang="ru-RU" sz="2200" dirty="0">
              <a:solidFill>
                <a:srgbClr val="C00000"/>
              </a:solidFill>
              <a:latin typeface="+mn-lt"/>
              <a:cs typeface="+mn-cs"/>
              <a:sym typeface="Arial" panose="020B0604020202020204" pitchFamily="34" charset="0"/>
            </a:endParaRPr>
          </a:p>
          <a:p>
            <a:pPr lvl="2">
              <a:spcAft>
                <a:spcPts val="0"/>
              </a:spcAft>
              <a:buFont typeface="Wingdings" pitchFamily="2" charset="2"/>
              <a:buChar char="§"/>
            </a:pP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Современные методы обработки и анализа данных</a:t>
            </a:r>
          </a:p>
          <a:p>
            <a:pPr lvl="2">
              <a:spcAft>
                <a:spcPts val="0"/>
              </a:spcAft>
              <a:buFont typeface="Wingdings" pitchFamily="2" charset="2"/>
              <a:buChar char="§"/>
            </a:pP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Навыки проектной работы</a:t>
            </a:r>
          </a:p>
          <a:p>
            <a:pPr lvl="2">
              <a:spcAft>
                <a:spcPts val="0"/>
              </a:spcAft>
              <a:buFont typeface="Wingdings" pitchFamily="2" charset="2"/>
              <a:buChar char="§"/>
            </a:pP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Методология гибкого управления</a:t>
            </a:r>
          </a:p>
          <a:p>
            <a:pPr lvl="2">
              <a:buFont typeface="Wingdings" pitchFamily="2" charset="2"/>
              <a:buChar char="§"/>
            </a:pP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Навыки проработки и решения проблем и выработки стратегических решений 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53B3E87C-1DA4-6D4E-A390-5F98A3BE2DBC}"/>
              </a:ext>
            </a:extLst>
          </p:cNvPr>
          <p:cNvSpPr txBox="1">
            <a:spLocks/>
          </p:cNvSpPr>
          <p:nvPr/>
        </p:nvSpPr>
        <p:spPr>
          <a:xfrm>
            <a:off x="10833197" y="2635971"/>
            <a:ext cx="4978399" cy="6132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600" lvl="1" indent="0">
              <a:buNone/>
            </a:pPr>
            <a:r>
              <a:rPr lang="ru-RU" sz="2200" dirty="0">
                <a:latin typeface="+mn-lt"/>
                <a:cs typeface="+mn-cs"/>
                <a:sym typeface="Arial" panose="020B0604020202020204" pitchFamily="34" charset="0"/>
              </a:rPr>
              <a:t>Фундаментальные навыки и знания </a:t>
            </a: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в рамках программы развиваются для соответствия самым высоким критериям и профессиональным требованиям целевых индустрий:</a:t>
            </a:r>
          </a:p>
          <a:p>
            <a:pPr lvl="2">
              <a:spcAft>
                <a:spcPts val="0"/>
              </a:spcAft>
              <a:buFont typeface="Wingdings" pitchFamily="2" charset="2"/>
              <a:buChar char="§"/>
            </a:pP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Экономика и основы финансового моделирования</a:t>
            </a:r>
          </a:p>
          <a:p>
            <a:pPr lvl="2">
              <a:spcAft>
                <a:spcPts val="0"/>
              </a:spcAft>
              <a:buFont typeface="Wingdings" pitchFamily="2" charset="2"/>
              <a:buChar char="§"/>
            </a:pP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Принципы организационных и цифровых изменений</a:t>
            </a:r>
          </a:p>
          <a:p>
            <a:pPr lvl="2">
              <a:spcAft>
                <a:spcPts val="0"/>
              </a:spcAft>
              <a:buFont typeface="Wingdings" pitchFamily="2" charset="2"/>
              <a:buChar char="§"/>
            </a:pP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Углубленные функциональные знания (стратегия, маркетинг, операции и т.д.)</a:t>
            </a:r>
          </a:p>
          <a:p>
            <a:pPr lvl="2">
              <a:spcAft>
                <a:spcPts val="0"/>
              </a:spcAft>
              <a:buFont typeface="Wingdings" pitchFamily="2" charset="2"/>
              <a:buChar char="§"/>
            </a:pP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Понимание бизнеса финансовых, промышленных,  телекоммуникационных и технологических компаний</a:t>
            </a:r>
            <a:r>
              <a:rPr lang="en-US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 </a:t>
            </a:r>
            <a:r>
              <a:rPr lang="ru-RU" sz="2200" dirty="0">
                <a:solidFill>
                  <a:srgbClr val="262626"/>
                </a:solidFill>
                <a:latin typeface="+mn-lt"/>
                <a:cs typeface="+mn-cs"/>
                <a:sym typeface="Arial" panose="020B0604020202020204" pitchFamily="34" charset="0"/>
              </a:rPr>
              <a:t>и наличие специфических профессиональных знаний</a:t>
            </a:r>
          </a:p>
        </p:txBody>
      </p:sp>
    </p:spTree>
    <p:extLst>
      <p:ext uri="{BB962C8B-B14F-4D97-AF65-F5344CB8AC3E}">
        <p14:creationId xmlns:p14="http://schemas.microsoft.com/office/powerpoint/2010/main" val="34166183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/>
          </p:cNvSpPr>
          <p:nvPr/>
        </p:nvSpPr>
        <p:spPr>
          <a:xfrm>
            <a:off x="1041400" y="775094"/>
            <a:ext cx="14905664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ru-RU" sz="2800" b="1" spc="-15" dirty="0">
                <a:solidFill>
                  <a:schemeClr val="bg1"/>
                </a:solidFill>
                <a:latin typeface="HSE Sans"/>
                <a:ea typeface="+mn-ea"/>
                <a:cs typeface="+mn-cs"/>
              </a:rPr>
              <a:t>БАКАЛАВРИАТ ВШБ : ПРАВИЛА ПРИЕМА 2021</a:t>
            </a: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0969447D-71AA-4FCE-B178-922B586EE92E}"/>
              </a:ext>
            </a:extLst>
          </p:cNvPr>
          <p:cNvSpPr/>
          <p:nvPr/>
        </p:nvSpPr>
        <p:spPr>
          <a:xfrm>
            <a:off x="0" y="381000"/>
            <a:ext cx="812800" cy="1231900"/>
          </a:xfrm>
          <a:custGeom>
            <a:avLst/>
            <a:gdLst/>
            <a:ahLst/>
            <a:cxnLst/>
            <a:rect l="l" t="t" r="r" b="b"/>
            <a:pathLst>
              <a:path w="16256000" h="965200">
                <a:moveTo>
                  <a:pt x="16256000" y="0"/>
                </a:moveTo>
                <a:lnTo>
                  <a:pt x="0" y="0"/>
                </a:lnTo>
                <a:lnTo>
                  <a:pt x="0" y="965200"/>
                </a:lnTo>
                <a:lnTo>
                  <a:pt x="16256000" y="9652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CB2F0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2">
            <a:extLst>
              <a:ext uri="{FF2B5EF4-FFF2-40B4-BE49-F238E27FC236}">
                <a16:creationId xmlns:a16="http://schemas.microsoft.com/office/drawing/2014/main" id="{2B58729B-A192-4EA1-80B1-9FFB6C89BE76}"/>
              </a:ext>
            </a:extLst>
          </p:cNvPr>
          <p:cNvSpPr txBox="1">
            <a:spLocks/>
          </p:cNvSpPr>
          <p:nvPr/>
        </p:nvSpPr>
        <p:spPr>
          <a:xfrm>
            <a:off x="1003299" y="381000"/>
            <a:ext cx="15252701" cy="1206099"/>
          </a:xfrm>
          <a:prstGeom prst="rect">
            <a:avLst/>
          </a:prstGeom>
        </p:spPr>
        <p:txBody>
          <a:bodyPr vert="horz" wrap="square" lIns="0" tIns="97155" rIns="0" bIns="0" rtlCol="0">
            <a:spAutoFit/>
          </a:bodyPr>
          <a:lstStyle>
            <a:lvl1pPr>
              <a:defRPr sz="4400" b="1" i="0">
                <a:solidFill>
                  <a:schemeClr val="tx1"/>
                </a:solidFill>
                <a:latin typeface="Myriad Pro Black"/>
                <a:ea typeface="+mj-ea"/>
                <a:cs typeface="Myriad Pro Black"/>
              </a:defRPr>
            </a:lvl1pPr>
          </a:lstStyle>
          <a:p>
            <a:pPr marL="17145"/>
            <a:r>
              <a:rPr lang="ru-RU" sz="3600" kern="0" spc="45" dirty="0">
                <a:solidFill>
                  <a:srgbClr val="C00000"/>
                </a:solidFill>
                <a:latin typeface="HSE Sans"/>
                <a:cs typeface="Arial" panose="020B0604020202020204" pitchFamily="34" charset="0"/>
              </a:rPr>
              <a:t>КАК МЫ ЭТО ДЕЛАЕМ? </a:t>
            </a:r>
            <a:r>
              <a:rPr lang="ru-RU" sz="3600" b="0" kern="0" spc="45" dirty="0">
                <a:latin typeface="HSE Sans"/>
                <a:cs typeface="Arial" panose="020B0604020202020204" pitchFamily="34" charset="0"/>
              </a:rPr>
              <a:t>– СОЧЕТАНИЕ ФУНДАМЕНТАЛЬНОГО С ПРИКЛАДНЫМ И ПРОЕКТНЫМ ОБУЧЕНИЕМ</a:t>
            </a:r>
            <a:endParaRPr lang="ru-RU" sz="3600" b="0" kern="0" spc="-5" dirty="0">
              <a:latin typeface="HSE Sans"/>
              <a:cs typeface="Arial" panose="020B0604020202020204" pitchFamily="34" charset="0"/>
            </a:endParaRPr>
          </a:p>
        </p:txBody>
      </p:sp>
      <p:sp>
        <p:nvSpPr>
          <p:cNvPr id="467" name="Rectangle 136">
            <a:extLst>
              <a:ext uri="{FF2B5EF4-FFF2-40B4-BE49-F238E27FC236}">
                <a16:creationId xmlns:a16="http://schemas.microsoft.com/office/drawing/2014/main" id="{F90E48FF-930E-2F49-A379-8EB4EA22AE98}"/>
              </a:ext>
            </a:extLst>
          </p:cNvPr>
          <p:cNvSpPr>
            <a:spLocks/>
          </p:cNvSpPr>
          <p:nvPr/>
        </p:nvSpPr>
        <p:spPr>
          <a:xfrm>
            <a:off x="8217041" y="7628100"/>
            <a:ext cx="7027853" cy="788768"/>
          </a:xfrm>
          <a:prstGeom prst="rect">
            <a:avLst/>
          </a:prstGeom>
          <a:solidFill>
            <a:srgbClr val="F0F0F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8" name="Rectangle 135">
            <a:extLst>
              <a:ext uri="{FF2B5EF4-FFF2-40B4-BE49-F238E27FC236}">
                <a16:creationId xmlns:a16="http://schemas.microsoft.com/office/drawing/2014/main" id="{0D6F3E93-5F09-4045-834C-A16229719018}"/>
              </a:ext>
            </a:extLst>
          </p:cNvPr>
          <p:cNvSpPr>
            <a:spLocks/>
          </p:cNvSpPr>
          <p:nvPr/>
        </p:nvSpPr>
        <p:spPr>
          <a:xfrm>
            <a:off x="8217041" y="6853790"/>
            <a:ext cx="7027853" cy="355507"/>
          </a:xfrm>
          <a:prstGeom prst="rect">
            <a:avLst/>
          </a:prstGeom>
          <a:solidFill>
            <a:srgbClr val="F0F0F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9" name="Rectangle 134">
            <a:extLst>
              <a:ext uri="{FF2B5EF4-FFF2-40B4-BE49-F238E27FC236}">
                <a16:creationId xmlns:a16="http://schemas.microsoft.com/office/drawing/2014/main" id="{48B3F162-8A42-9243-BECC-E735EA212F34}"/>
              </a:ext>
            </a:extLst>
          </p:cNvPr>
          <p:cNvSpPr>
            <a:spLocks/>
          </p:cNvSpPr>
          <p:nvPr/>
        </p:nvSpPr>
        <p:spPr>
          <a:xfrm>
            <a:off x="8217041" y="6396149"/>
            <a:ext cx="7027853" cy="355507"/>
          </a:xfrm>
          <a:prstGeom prst="rect">
            <a:avLst/>
          </a:prstGeom>
          <a:solidFill>
            <a:srgbClr val="F0F0F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0" name="Rectangle 133">
            <a:extLst>
              <a:ext uri="{FF2B5EF4-FFF2-40B4-BE49-F238E27FC236}">
                <a16:creationId xmlns:a16="http://schemas.microsoft.com/office/drawing/2014/main" id="{CC4D6D87-E045-1A46-B119-6FB3B531C2B5}"/>
              </a:ext>
            </a:extLst>
          </p:cNvPr>
          <p:cNvSpPr>
            <a:spLocks/>
          </p:cNvSpPr>
          <p:nvPr/>
        </p:nvSpPr>
        <p:spPr>
          <a:xfrm>
            <a:off x="8217041" y="4944695"/>
            <a:ext cx="7027853" cy="1422863"/>
          </a:xfrm>
          <a:prstGeom prst="rect">
            <a:avLst/>
          </a:prstGeom>
          <a:solidFill>
            <a:srgbClr val="F0F0F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1" name="Rectangle 127">
            <a:extLst>
              <a:ext uri="{FF2B5EF4-FFF2-40B4-BE49-F238E27FC236}">
                <a16:creationId xmlns:a16="http://schemas.microsoft.com/office/drawing/2014/main" id="{56A70B2F-0BC5-0F47-94A6-E0A044BA3033}"/>
              </a:ext>
            </a:extLst>
          </p:cNvPr>
          <p:cNvSpPr>
            <a:spLocks/>
          </p:cNvSpPr>
          <p:nvPr/>
        </p:nvSpPr>
        <p:spPr>
          <a:xfrm>
            <a:off x="1001253" y="7904422"/>
            <a:ext cx="7027852" cy="975449"/>
          </a:xfrm>
          <a:prstGeom prst="rect">
            <a:avLst/>
          </a:prstGeom>
          <a:solidFill>
            <a:srgbClr val="F0F0F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2" name="Rectangle 114">
            <a:extLst>
              <a:ext uri="{FF2B5EF4-FFF2-40B4-BE49-F238E27FC236}">
                <a16:creationId xmlns:a16="http://schemas.microsoft.com/office/drawing/2014/main" id="{79F62823-18CF-0C48-849C-72AC85C82B95}"/>
              </a:ext>
            </a:extLst>
          </p:cNvPr>
          <p:cNvSpPr>
            <a:spLocks/>
          </p:cNvSpPr>
          <p:nvPr/>
        </p:nvSpPr>
        <p:spPr>
          <a:xfrm>
            <a:off x="1001253" y="7292752"/>
            <a:ext cx="7027852" cy="256584"/>
          </a:xfrm>
          <a:prstGeom prst="rect">
            <a:avLst/>
          </a:prstGeom>
          <a:solidFill>
            <a:srgbClr val="F0F0F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3" name="Rectangle 66">
            <a:extLst>
              <a:ext uri="{FF2B5EF4-FFF2-40B4-BE49-F238E27FC236}">
                <a16:creationId xmlns:a16="http://schemas.microsoft.com/office/drawing/2014/main" id="{629EC3EA-F812-5C4D-98BF-1511F75375A2}"/>
              </a:ext>
            </a:extLst>
          </p:cNvPr>
          <p:cNvSpPr>
            <a:spLocks/>
          </p:cNvSpPr>
          <p:nvPr/>
        </p:nvSpPr>
        <p:spPr>
          <a:xfrm>
            <a:off x="1001253" y="6652848"/>
            <a:ext cx="7027852" cy="538032"/>
          </a:xfrm>
          <a:prstGeom prst="rect">
            <a:avLst/>
          </a:prstGeom>
          <a:solidFill>
            <a:srgbClr val="F0F0F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4" name="Right Brace 115">
            <a:extLst>
              <a:ext uri="{FF2B5EF4-FFF2-40B4-BE49-F238E27FC236}">
                <a16:creationId xmlns:a16="http://schemas.microsoft.com/office/drawing/2014/main" id="{5F5B9E48-C709-CB4C-8C5C-90359E493312}"/>
              </a:ext>
            </a:extLst>
          </p:cNvPr>
          <p:cNvSpPr>
            <a:spLocks/>
          </p:cNvSpPr>
          <p:nvPr/>
        </p:nvSpPr>
        <p:spPr>
          <a:xfrm>
            <a:off x="7254393" y="6652849"/>
            <a:ext cx="118589" cy="544221"/>
          </a:xfrm>
          <a:prstGeom prst="rightBrace">
            <a:avLst/>
          </a:prstGeom>
          <a:noFill/>
          <a:ln w="9525" cap="sq" cmpd="sng" algn="ctr">
            <a:solidFill>
              <a:srgbClr val="CB2F0D"/>
            </a:solidFill>
            <a:prstDash val="solid"/>
            <a:miter lim="800000"/>
            <a:tailEnd type="none"/>
          </a:ln>
          <a:effectLst/>
        </p:spPr>
        <p:txBody>
          <a:bodyPr rtlCol="0" anchor="ctr"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5" name="Rectangle 85">
            <a:extLst>
              <a:ext uri="{FF2B5EF4-FFF2-40B4-BE49-F238E27FC236}">
                <a16:creationId xmlns:a16="http://schemas.microsoft.com/office/drawing/2014/main" id="{9778BCEA-4FFE-BD45-8933-5F8BB1D61FD0}"/>
              </a:ext>
            </a:extLst>
          </p:cNvPr>
          <p:cNvSpPr>
            <a:spLocks/>
          </p:cNvSpPr>
          <p:nvPr/>
        </p:nvSpPr>
        <p:spPr>
          <a:xfrm>
            <a:off x="1001253" y="6652848"/>
            <a:ext cx="133532" cy="545051"/>
          </a:xfrm>
          <a:prstGeom prst="rect">
            <a:avLst/>
          </a:prstGeom>
          <a:solidFill>
            <a:srgbClr val="CB2F0D">
              <a:lumMod val="60000"/>
              <a:lumOff val="40000"/>
            </a:srgbClr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6" name="Rectangle 233">
            <a:extLst>
              <a:ext uri="{FF2B5EF4-FFF2-40B4-BE49-F238E27FC236}">
                <a16:creationId xmlns:a16="http://schemas.microsoft.com/office/drawing/2014/main" id="{E3824009-C796-6C45-9C5A-7890B445B6B0}"/>
              </a:ext>
            </a:extLst>
          </p:cNvPr>
          <p:cNvSpPr>
            <a:spLocks/>
          </p:cNvSpPr>
          <p:nvPr/>
        </p:nvSpPr>
        <p:spPr>
          <a:xfrm>
            <a:off x="1027761" y="4944695"/>
            <a:ext cx="7027853" cy="1603610"/>
          </a:xfrm>
          <a:prstGeom prst="rect">
            <a:avLst/>
          </a:prstGeom>
          <a:solidFill>
            <a:srgbClr val="F0F0F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7" name="Rectangle 85">
            <a:extLst>
              <a:ext uri="{FF2B5EF4-FFF2-40B4-BE49-F238E27FC236}">
                <a16:creationId xmlns:a16="http://schemas.microsoft.com/office/drawing/2014/main" id="{5A2FFA63-716A-B843-973E-D2329593FC3B}"/>
              </a:ext>
            </a:extLst>
          </p:cNvPr>
          <p:cNvSpPr>
            <a:spLocks/>
          </p:cNvSpPr>
          <p:nvPr/>
        </p:nvSpPr>
        <p:spPr>
          <a:xfrm>
            <a:off x="1020330" y="4956598"/>
            <a:ext cx="140574" cy="1631254"/>
          </a:xfrm>
          <a:prstGeom prst="rect">
            <a:avLst/>
          </a:prstGeom>
          <a:solidFill>
            <a:srgbClr val="CB2F0D">
              <a:lumMod val="60000"/>
              <a:lumOff val="40000"/>
            </a:srgbClr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8" name="Rectangle 85">
            <a:extLst>
              <a:ext uri="{FF2B5EF4-FFF2-40B4-BE49-F238E27FC236}">
                <a16:creationId xmlns:a16="http://schemas.microsoft.com/office/drawing/2014/main" id="{820E1635-8336-F24A-9C4B-0F843F2B6992}"/>
              </a:ext>
            </a:extLst>
          </p:cNvPr>
          <p:cNvSpPr>
            <a:spLocks/>
          </p:cNvSpPr>
          <p:nvPr/>
        </p:nvSpPr>
        <p:spPr>
          <a:xfrm>
            <a:off x="8219326" y="4961607"/>
            <a:ext cx="133532" cy="1375520"/>
          </a:xfrm>
          <a:prstGeom prst="rect">
            <a:avLst/>
          </a:prstGeom>
          <a:solidFill>
            <a:srgbClr val="CB2F0D">
              <a:lumMod val="60000"/>
              <a:lumOff val="40000"/>
            </a:srgbClr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79" name="Group 83">
            <a:extLst>
              <a:ext uri="{FF2B5EF4-FFF2-40B4-BE49-F238E27FC236}">
                <a16:creationId xmlns:a16="http://schemas.microsoft.com/office/drawing/2014/main" id="{98D75772-6605-D247-A585-F7FFF58ECDA1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4503814" y="1676400"/>
            <a:ext cx="3631768" cy="324519"/>
            <a:chOff x="3499883" y="1766921"/>
            <a:chExt cx="2723826" cy="407584"/>
          </a:xfrm>
        </p:grpSpPr>
        <p:sp>
          <p:nvSpPr>
            <p:cNvPr id="480" name="Freeform: Shape 84">
              <a:extLst>
                <a:ext uri="{FF2B5EF4-FFF2-40B4-BE49-F238E27FC236}">
                  <a16:creationId xmlns:a16="http://schemas.microsoft.com/office/drawing/2014/main" id="{CCF6287F-6C83-B949-91F3-72F1650EDB55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3499883" y="1766921"/>
              <a:ext cx="2723826" cy="40758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7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708 w 1828800"/>
                <a:gd name="connsiteY1" fmla="*/ 0 h 914400"/>
                <a:gd name="connsiteX2" fmla="*/ 1828800 w 1828800"/>
                <a:gd name="connsiteY2" fmla="*/ 457200 h 914400"/>
                <a:gd name="connsiteX3" fmla="*/ 17667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708 w 1828800"/>
                <a:gd name="connsiteY1" fmla="*/ 0 h 914400"/>
                <a:gd name="connsiteX2" fmla="*/ 1828800 w 1828800"/>
                <a:gd name="connsiteY2" fmla="*/ 457200 h 914400"/>
                <a:gd name="connsiteX3" fmla="*/ 17667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667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41276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41276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41276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79542" y="0"/>
                  </a:lnTo>
                  <a:lnTo>
                    <a:pt x="1828800" y="457200"/>
                  </a:lnTo>
                  <a:lnTo>
                    <a:pt x="1779542" y="914400"/>
                  </a:lnTo>
                  <a:lnTo>
                    <a:pt x="0" y="914400"/>
                  </a:lnTo>
                  <a:lnTo>
                    <a:pt x="49258" y="457200"/>
                  </a:lnTo>
                  <a:close/>
                </a:path>
              </a:pathLst>
            </a:custGeom>
            <a:solidFill>
              <a:srgbClr val="CB2F0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20160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33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endParaRPr>
            </a:p>
          </p:txBody>
        </p:sp>
        <p:sp>
          <p:nvSpPr>
            <p:cNvPr id="481" name="TextBox 480">
              <a:extLst>
                <a:ext uri="{FF2B5EF4-FFF2-40B4-BE49-F238E27FC236}">
                  <a16:creationId xmlns:a16="http://schemas.microsoft.com/office/drawing/2014/main" id="{D23A6B26-6B0C-8143-8612-C884B186573E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3624048" y="1795225"/>
              <a:ext cx="2526296" cy="350975"/>
            </a:xfrm>
            <a:prstGeom prst="rect">
              <a:avLst/>
            </a:prstGeom>
            <a:noFill/>
          </p:spPr>
          <p:txBody>
            <a:bodyPr vert="horz" wrap="square" lIns="20160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Wingdings" panose="05000000000000000000" pitchFamily="2" charset="2"/>
                <a:buChar char="§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Arial" panose="020B0604020202020204" pitchFamily="34" charset="0"/>
                <a:buChar char="‒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•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̶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173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cs typeface="Arial" panose="020B0604020202020204" pitchFamily="34" charset="0"/>
                </a:rPr>
                <a:t>2</a:t>
              </a:r>
              <a:r>
                <a:rPr kumimoji="0" lang="en-GB" sz="173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cs typeface="Arial" panose="020B0604020202020204" pitchFamily="34" charset="0"/>
                </a:rPr>
                <a:t> </a:t>
              </a:r>
              <a:r>
                <a:rPr kumimoji="0" lang="ru-RU" sz="173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cs typeface="Arial" panose="020B0604020202020204" pitchFamily="34" charset="0"/>
                </a:rPr>
                <a:t>модуль</a:t>
              </a:r>
            </a:p>
          </p:txBody>
        </p:sp>
      </p:grpSp>
      <p:grpSp>
        <p:nvGrpSpPr>
          <p:cNvPr id="482" name="Group 86">
            <a:extLst>
              <a:ext uri="{FF2B5EF4-FFF2-40B4-BE49-F238E27FC236}">
                <a16:creationId xmlns:a16="http://schemas.microsoft.com/office/drawing/2014/main" id="{23CCE23A-E99E-5343-8FD4-44539DBA3E3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8112850" y="1676400"/>
            <a:ext cx="3631768" cy="324519"/>
            <a:chOff x="6206660" y="1766921"/>
            <a:chExt cx="2723826" cy="407584"/>
          </a:xfrm>
        </p:grpSpPr>
        <p:sp>
          <p:nvSpPr>
            <p:cNvPr id="483" name="Freeform: Shape 105">
              <a:extLst>
                <a:ext uri="{FF2B5EF4-FFF2-40B4-BE49-F238E27FC236}">
                  <a16:creationId xmlns:a16="http://schemas.microsoft.com/office/drawing/2014/main" id="{FFC9634B-29E6-F54E-8119-81CD93166B4E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6206660" y="1766921"/>
              <a:ext cx="2723826" cy="40758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7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708 w 1828800"/>
                <a:gd name="connsiteY1" fmla="*/ 0 h 914400"/>
                <a:gd name="connsiteX2" fmla="*/ 1828800 w 1828800"/>
                <a:gd name="connsiteY2" fmla="*/ 457200 h 914400"/>
                <a:gd name="connsiteX3" fmla="*/ 17667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708 w 1828800"/>
                <a:gd name="connsiteY1" fmla="*/ 0 h 914400"/>
                <a:gd name="connsiteX2" fmla="*/ 1828800 w 1828800"/>
                <a:gd name="connsiteY2" fmla="*/ 457200 h 914400"/>
                <a:gd name="connsiteX3" fmla="*/ 17667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667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1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1 w 1828800"/>
                <a:gd name="connsiteY1" fmla="*/ 0 h 914400"/>
                <a:gd name="connsiteX2" fmla="*/ 1828800 w 1828800"/>
                <a:gd name="connsiteY2" fmla="*/ 457200 h 914400"/>
                <a:gd name="connsiteX3" fmla="*/ 17795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1 w 1828800"/>
                <a:gd name="connsiteY1" fmla="*/ 0 h 914400"/>
                <a:gd name="connsiteX2" fmla="*/ 1828800 w 1828800"/>
                <a:gd name="connsiteY2" fmla="*/ 457200 h 914400"/>
                <a:gd name="connsiteX3" fmla="*/ 1779541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1 w 1828800"/>
                <a:gd name="connsiteY1" fmla="*/ 0 h 914400"/>
                <a:gd name="connsiteX2" fmla="*/ 1828800 w 1828800"/>
                <a:gd name="connsiteY2" fmla="*/ 457200 h 914400"/>
                <a:gd name="connsiteX3" fmla="*/ 1779541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1 w 1828800"/>
                <a:gd name="connsiteY1" fmla="*/ 0 h 914400"/>
                <a:gd name="connsiteX2" fmla="*/ 1828800 w 1828800"/>
                <a:gd name="connsiteY2" fmla="*/ 457200 h 914400"/>
                <a:gd name="connsiteX3" fmla="*/ 1779541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1 w 1828800"/>
                <a:gd name="connsiteY1" fmla="*/ 0 h 914400"/>
                <a:gd name="connsiteX2" fmla="*/ 1828800 w 1828800"/>
                <a:gd name="connsiteY2" fmla="*/ 457200 h 914400"/>
                <a:gd name="connsiteX3" fmla="*/ 17795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79542" y="0"/>
                  </a:lnTo>
                  <a:lnTo>
                    <a:pt x="1828800" y="457200"/>
                  </a:lnTo>
                  <a:lnTo>
                    <a:pt x="1779542" y="914400"/>
                  </a:lnTo>
                  <a:lnTo>
                    <a:pt x="0" y="914400"/>
                  </a:lnTo>
                  <a:lnTo>
                    <a:pt x="49258" y="457200"/>
                  </a:lnTo>
                  <a:close/>
                </a:path>
              </a:pathLst>
            </a:custGeom>
            <a:solidFill>
              <a:srgbClr val="CB2F0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20160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33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endParaRPr>
            </a:p>
          </p:txBody>
        </p:sp>
        <p:sp>
          <p:nvSpPr>
            <p:cNvPr id="484" name="TextBox 483">
              <a:extLst>
                <a:ext uri="{FF2B5EF4-FFF2-40B4-BE49-F238E27FC236}">
                  <a16:creationId xmlns:a16="http://schemas.microsoft.com/office/drawing/2014/main" id="{BB9A5EE7-8F90-AF40-A677-D886DDE90300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6330825" y="1795225"/>
              <a:ext cx="2526296" cy="350975"/>
            </a:xfrm>
            <a:prstGeom prst="rect">
              <a:avLst/>
            </a:prstGeom>
            <a:noFill/>
          </p:spPr>
          <p:txBody>
            <a:bodyPr vert="horz" wrap="square" lIns="20160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Wingdings" panose="05000000000000000000" pitchFamily="2" charset="2"/>
                <a:buChar char="§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Arial" panose="020B0604020202020204" pitchFamily="34" charset="0"/>
                <a:buChar char="‒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•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̶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173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cs typeface="Arial" panose="020B0604020202020204" pitchFamily="34" charset="0"/>
                </a:rPr>
                <a:t>3</a:t>
              </a:r>
              <a:r>
                <a:rPr kumimoji="0" lang="en-GB" sz="173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cs typeface="Arial" panose="020B0604020202020204" pitchFamily="34" charset="0"/>
                </a:rPr>
                <a:t> </a:t>
              </a:r>
              <a:r>
                <a:rPr kumimoji="0" lang="ru-RU" sz="173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cs typeface="Arial" panose="020B0604020202020204" pitchFamily="34" charset="0"/>
                </a:rPr>
                <a:t>модуль</a:t>
              </a:r>
            </a:p>
          </p:txBody>
        </p:sp>
      </p:grpSp>
      <p:grpSp>
        <p:nvGrpSpPr>
          <p:cNvPr id="485" name="Group 116">
            <a:extLst>
              <a:ext uri="{FF2B5EF4-FFF2-40B4-BE49-F238E27FC236}">
                <a16:creationId xmlns:a16="http://schemas.microsoft.com/office/drawing/2014/main" id="{AA529A34-A854-A242-9D01-1A7BCE1379F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1721887" y="1676401"/>
            <a:ext cx="3631768" cy="324519"/>
            <a:chOff x="8913438" y="1766921"/>
            <a:chExt cx="2723826" cy="407584"/>
          </a:xfrm>
        </p:grpSpPr>
        <p:sp>
          <p:nvSpPr>
            <p:cNvPr id="486" name="Freeform: Shape 117">
              <a:extLst>
                <a:ext uri="{FF2B5EF4-FFF2-40B4-BE49-F238E27FC236}">
                  <a16:creationId xmlns:a16="http://schemas.microsoft.com/office/drawing/2014/main" id="{4763A76E-CCF5-9843-AFF8-30914AEE7A31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8913438" y="1766921"/>
              <a:ext cx="2723826" cy="40758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7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708 w 1828800"/>
                <a:gd name="connsiteY1" fmla="*/ 0 h 914400"/>
                <a:gd name="connsiteX2" fmla="*/ 1828800 w 1828800"/>
                <a:gd name="connsiteY2" fmla="*/ 457200 h 914400"/>
                <a:gd name="connsiteX3" fmla="*/ 17667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708 w 1828800"/>
                <a:gd name="connsiteY1" fmla="*/ 0 h 914400"/>
                <a:gd name="connsiteX2" fmla="*/ 1828800 w 1828800"/>
                <a:gd name="connsiteY2" fmla="*/ 457200 h 914400"/>
                <a:gd name="connsiteX3" fmla="*/ 17667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667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41276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41276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41276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09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09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09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1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48288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90391 w 1828800"/>
                <a:gd name="connsiteY3" fmla="*/ 914400 h 914400"/>
                <a:gd name="connsiteX4" fmla="*/ 0 w 1828800"/>
                <a:gd name="connsiteY4" fmla="*/ 914400 h 914400"/>
                <a:gd name="connsiteX5" fmla="*/ 48288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8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8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8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8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8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8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8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2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2 w 1828800"/>
                <a:gd name="connsiteY1" fmla="*/ 0 h 914400"/>
                <a:gd name="connsiteX2" fmla="*/ 1828800 w 1828800"/>
                <a:gd name="connsiteY2" fmla="*/ 457200 h 914400"/>
                <a:gd name="connsiteX3" fmla="*/ 1780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2 w 1828800"/>
                <a:gd name="connsiteY1" fmla="*/ 0 h 914400"/>
                <a:gd name="connsiteX2" fmla="*/ 1828800 w 1828800"/>
                <a:gd name="connsiteY2" fmla="*/ 457200 h 914400"/>
                <a:gd name="connsiteX3" fmla="*/ 1780512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2 w 1828800"/>
                <a:gd name="connsiteY1" fmla="*/ 0 h 914400"/>
                <a:gd name="connsiteX2" fmla="*/ 1828800 w 1828800"/>
                <a:gd name="connsiteY2" fmla="*/ 457200 h 914400"/>
                <a:gd name="connsiteX3" fmla="*/ 1780512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2 w 1828800"/>
                <a:gd name="connsiteY1" fmla="*/ 0 h 914400"/>
                <a:gd name="connsiteX2" fmla="*/ 1828800 w 1828800"/>
                <a:gd name="connsiteY2" fmla="*/ 457200 h 914400"/>
                <a:gd name="connsiteX3" fmla="*/ 1780512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2 w 1828800"/>
                <a:gd name="connsiteY1" fmla="*/ 0 h 914400"/>
                <a:gd name="connsiteX2" fmla="*/ 1828800 w 1828800"/>
                <a:gd name="connsiteY2" fmla="*/ 457200 h 914400"/>
                <a:gd name="connsiteX3" fmla="*/ 1780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29 w 1828800"/>
                <a:gd name="connsiteY1" fmla="*/ 0 h 914400"/>
                <a:gd name="connsiteX2" fmla="*/ 1828800 w 1828800"/>
                <a:gd name="connsiteY2" fmla="*/ 457200 h 914400"/>
                <a:gd name="connsiteX3" fmla="*/ 178051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29 w 1828800"/>
                <a:gd name="connsiteY1" fmla="*/ 0 h 914400"/>
                <a:gd name="connsiteX2" fmla="*/ 1828800 w 1828800"/>
                <a:gd name="connsiteY2" fmla="*/ 457200 h 914400"/>
                <a:gd name="connsiteX3" fmla="*/ 178002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29 w 1828800"/>
                <a:gd name="connsiteY1" fmla="*/ 0 h 914400"/>
                <a:gd name="connsiteX2" fmla="*/ 1828800 w 1828800"/>
                <a:gd name="connsiteY2" fmla="*/ 457200 h 914400"/>
                <a:gd name="connsiteX3" fmla="*/ 1780029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29 w 1828800"/>
                <a:gd name="connsiteY1" fmla="*/ 0 h 914400"/>
                <a:gd name="connsiteX2" fmla="*/ 1828800 w 1828800"/>
                <a:gd name="connsiteY2" fmla="*/ 457200 h 914400"/>
                <a:gd name="connsiteX3" fmla="*/ 1780029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29 w 1828800"/>
                <a:gd name="connsiteY1" fmla="*/ 0 h 914400"/>
                <a:gd name="connsiteX2" fmla="*/ 1828800 w 1828800"/>
                <a:gd name="connsiteY2" fmla="*/ 457200 h 914400"/>
                <a:gd name="connsiteX3" fmla="*/ 1780029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29 w 1828800"/>
                <a:gd name="connsiteY1" fmla="*/ 0 h 914400"/>
                <a:gd name="connsiteX2" fmla="*/ 1828800 w 1828800"/>
                <a:gd name="connsiteY2" fmla="*/ 457200 h 914400"/>
                <a:gd name="connsiteX3" fmla="*/ 178002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29 w 1828800"/>
                <a:gd name="connsiteY1" fmla="*/ 0 h 914400"/>
                <a:gd name="connsiteX2" fmla="*/ 1828800 w 1828800"/>
                <a:gd name="connsiteY2" fmla="*/ 457200 h 914400"/>
                <a:gd name="connsiteX3" fmla="*/ 178002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29 w 1828800"/>
                <a:gd name="connsiteY1" fmla="*/ 0 h 914400"/>
                <a:gd name="connsiteX2" fmla="*/ 1828800 w 1828800"/>
                <a:gd name="connsiteY2" fmla="*/ 457200 h 914400"/>
                <a:gd name="connsiteX3" fmla="*/ 178002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29 w 1828800"/>
                <a:gd name="connsiteY1" fmla="*/ 0 h 914400"/>
                <a:gd name="connsiteX2" fmla="*/ 1828800 w 1828800"/>
                <a:gd name="connsiteY2" fmla="*/ 457200 h 914400"/>
                <a:gd name="connsiteX3" fmla="*/ 1780029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29 w 1828800"/>
                <a:gd name="connsiteY1" fmla="*/ 0 h 914400"/>
                <a:gd name="connsiteX2" fmla="*/ 1828800 w 1828800"/>
                <a:gd name="connsiteY2" fmla="*/ 457200 h 914400"/>
                <a:gd name="connsiteX3" fmla="*/ 1780029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29 w 1828800"/>
                <a:gd name="connsiteY1" fmla="*/ 0 h 914400"/>
                <a:gd name="connsiteX2" fmla="*/ 1828800 w 1828800"/>
                <a:gd name="connsiteY2" fmla="*/ 457200 h 914400"/>
                <a:gd name="connsiteX3" fmla="*/ 1780029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29 w 1828800"/>
                <a:gd name="connsiteY1" fmla="*/ 0 h 914400"/>
                <a:gd name="connsiteX2" fmla="*/ 1828800 w 1828800"/>
                <a:gd name="connsiteY2" fmla="*/ 457200 h 914400"/>
                <a:gd name="connsiteX3" fmla="*/ 178002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2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1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1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1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1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1 w 1828800"/>
                <a:gd name="connsiteY1" fmla="*/ 0 h 914400"/>
                <a:gd name="connsiteX2" fmla="*/ 1828800 w 1828800"/>
                <a:gd name="connsiteY2" fmla="*/ 457200 h 914400"/>
                <a:gd name="connsiteX3" fmla="*/ 17795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1 w 1828800"/>
                <a:gd name="connsiteY1" fmla="*/ 0 h 914400"/>
                <a:gd name="connsiteX2" fmla="*/ 1828800 w 1828800"/>
                <a:gd name="connsiteY2" fmla="*/ 457200 h 914400"/>
                <a:gd name="connsiteX3" fmla="*/ 1779541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1 w 1828800"/>
                <a:gd name="connsiteY1" fmla="*/ 0 h 914400"/>
                <a:gd name="connsiteX2" fmla="*/ 1828800 w 1828800"/>
                <a:gd name="connsiteY2" fmla="*/ 457200 h 914400"/>
                <a:gd name="connsiteX3" fmla="*/ 1779541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1 w 1828800"/>
                <a:gd name="connsiteY1" fmla="*/ 0 h 914400"/>
                <a:gd name="connsiteX2" fmla="*/ 1828800 w 1828800"/>
                <a:gd name="connsiteY2" fmla="*/ 457200 h 914400"/>
                <a:gd name="connsiteX3" fmla="*/ 1779541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1 w 1828800"/>
                <a:gd name="connsiteY1" fmla="*/ 0 h 914400"/>
                <a:gd name="connsiteX2" fmla="*/ 1828800 w 1828800"/>
                <a:gd name="connsiteY2" fmla="*/ 457200 h 914400"/>
                <a:gd name="connsiteX3" fmla="*/ 17795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79542" y="0"/>
                  </a:lnTo>
                  <a:lnTo>
                    <a:pt x="1828800" y="457200"/>
                  </a:lnTo>
                  <a:lnTo>
                    <a:pt x="1779542" y="914400"/>
                  </a:lnTo>
                  <a:lnTo>
                    <a:pt x="0" y="914400"/>
                  </a:lnTo>
                  <a:lnTo>
                    <a:pt x="49258" y="457200"/>
                  </a:lnTo>
                  <a:close/>
                </a:path>
              </a:pathLst>
            </a:custGeom>
            <a:solidFill>
              <a:srgbClr val="CB2F0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20160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33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endParaRPr>
            </a:p>
          </p:txBody>
        </p:sp>
        <p:sp>
          <p:nvSpPr>
            <p:cNvPr id="487" name="TextBox 486">
              <a:extLst>
                <a:ext uri="{FF2B5EF4-FFF2-40B4-BE49-F238E27FC236}">
                  <a16:creationId xmlns:a16="http://schemas.microsoft.com/office/drawing/2014/main" id="{A631B3BE-D1AB-AD44-AF4C-83C6079F4BAB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9037603" y="1795224"/>
              <a:ext cx="2526296" cy="350975"/>
            </a:xfrm>
            <a:prstGeom prst="rect">
              <a:avLst/>
            </a:prstGeom>
            <a:noFill/>
          </p:spPr>
          <p:txBody>
            <a:bodyPr vert="horz" wrap="square" lIns="20160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Wingdings" panose="05000000000000000000" pitchFamily="2" charset="2"/>
                <a:buChar char="§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Arial" panose="020B0604020202020204" pitchFamily="34" charset="0"/>
                <a:buChar char="‒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•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̶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173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cs typeface="Arial" panose="020B0604020202020204" pitchFamily="34" charset="0"/>
                </a:rPr>
                <a:t>4</a:t>
              </a:r>
              <a:r>
                <a:rPr kumimoji="0" lang="en-GB" sz="1733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cs typeface="Arial" panose="020B0604020202020204" pitchFamily="34" charset="0"/>
                </a:rPr>
                <a:t> </a:t>
              </a:r>
              <a:r>
                <a:rPr kumimoji="0" lang="ru-RU" sz="1733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cs typeface="Arial" panose="020B0604020202020204" pitchFamily="34" charset="0"/>
                </a:rPr>
                <a:t>модуль</a:t>
              </a:r>
              <a:endParaRPr kumimoji="0" lang="ru-RU" sz="1733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cs typeface="Arial" panose="020B0604020202020204" pitchFamily="34" charset="0"/>
              </a:endParaRPr>
            </a:p>
          </p:txBody>
        </p:sp>
      </p:grpSp>
      <p:sp>
        <p:nvSpPr>
          <p:cNvPr id="488" name="TextBox 487">
            <a:extLst>
              <a:ext uri="{FF2B5EF4-FFF2-40B4-BE49-F238E27FC236}">
                <a16:creationId xmlns:a16="http://schemas.microsoft.com/office/drawing/2014/main" id="{203D88F9-0512-6F47-BF8E-37E9492A8EA7}"/>
              </a:ext>
            </a:extLst>
          </p:cNvPr>
          <p:cNvSpPr txBox="1">
            <a:spLocks/>
          </p:cNvSpPr>
          <p:nvPr/>
        </p:nvSpPr>
        <p:spPr>
          <a:xfrm>
            <a:off x="8474028" y="5380489"/>
            <a:ext cx="6186468" cy="225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омышленные компании</a:t>
            </a:r>
          </a:p>
        </p:txBody>
      </p:sp>
      <p:sp>
        <p:nvSpPr>
          <p:cNvPr id="489" name="TextBox 488">
            <a:extLst>
              <a:ext uri="{FF2B5EF4-FFF2-40B4-BE49-F238E27FC236}">
                <a16:creationId xmlns:a16="http://schemas.microsoft.com/office/drawing/2014/main" id="{28A60449-EFED-0445-A5AE-52636B26F294}"/>
              </a:ext>
            </a:extLst>
          </p:cNvPr>
          <p:cNvSpPr txBox="1">
            <a:spLocks/>
          </p:cNvSpPr>
          <p:nvPr/>
        </p:nvSpPr>
        <p:spPr>
          <a:xfrm>
            <a:off x="8474028" y="5709512"/>
            <a:ext cx="6186468" cy="225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ехнологические компании и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dvanced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ch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90" name="TextBox 489">
            <a:extLst>
              <a:ext uri="{FF2B5EF4-FFF2-40B4-BE49-F238E27FC236}">
                <a16:creationId xmlns:a16="http://schemas.microsoft.com/office/drawing/2014/main" id="{A5E2B887-AE38-814D-985C-16D51E9EF643}"/>
              </a:ext>
            </a:extLst>
          </p:cNvPr>
          <p:cNvSpPr txBox="1">
            <a:spLocks/>
          </p:cNvSpPr>
          <p:nvPr/>
        </p:nvSpPr>
        <p:spPr>
          <a:xfrm>
            <a:off x="8474028" y="5051467"/>
            <a:ext cx="6186468" cy="225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Банки и финансовые организации</a:t>
            </a:r>
          </a:p>
        </p:txBody>
      </p:sp>
      <p:sp>
        <p:nvSpPr>
          <p:cNvPr id="491" name="TextBox 490">
            <a:extLst>
              <a:ext uri="{FF2B5EF4-FFF2-40B4-BE49-F238E27FC236}">
                <a16:creationId xmlns:a16="http://schemas.microsoft.com/office/drawing/2014/main" id="{225AC9CF-11B6-5D44-9E7D-2B5507517519}"/>
              </a:ext>
            </a:extLst>
          </p:cNvPr>
          <p:cNvSpPr txBox="1">
            <a:spLocks/>
          </p:cNvSpPr>
          <p:nvPr/>
        </p:nvSpPr>
        <p:spPr>
          <a:xfrm>
            <a:off x="8474028" y="6038535"/>
            <a:ext cx="6186468" cy="225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Организации государственного управления и соц. сферы</a:t>
            </a:r>
          </a:p>
        </p:txBody>
      </p:sp>
      <p:sp>
        <p:nvSpPr>
          <p:cNvPr id="492" name="TextBox 491">
            <a:extLst>
              <a:ext uri="{FF2B5EF4-FFF2-40B4-BE49-F238E27FC236}">
                <a16:creationId xmlns:a16="http://schemas.microsoft.com/office/drawing/2014/main" id="{F92A50DE-EA28-134F-9C6D-A58A0259B773}"/>
              </a:ext>
            </a:extLst>
          </p:cNvPr>
          <p:cNvSpPr txBox="1">
            <a:spLocks/>
          </p:cNvSpPr>
          <p:nvPr/>
        </p:nvSpPr>
        <p:spPr>
          <a:xfrm>
            <a:off x="8474028" y="6903220"/>
            <a:ext cx="6186468" cy="2257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4800" lvl="1" indent="0" defTabSz="1219170">
              <a:spcAft>
                <a:spcPts val="400"/>
              </a:spcAft>
              <a:buFont typeface="Wingdings" panose="05000000000000000000" pitchFamily="2" charset="2"/>
              <a:buNone/>
            </a:pPr>
            <a:r>
              <a:rPr lang="ru-RU" sz="1600">
                <a:solidFill>
                  <a:srgbClr val="262626"/>
                </a:solidFill>
                <a:latin typeface="Arial"/>
              </a:rPr>
              <a:t>Производственная практика</a:t>
            </a:r>
            <a:endParaRPr sz="1600">
              <a:solidFill>
                <a:srgbClr val="262626"/>
              </a:solidFill>
              <a:latin typeface="Arial"/>
            </a:endParaRPr>
          </a:p>
        </p:txBody>
      </p:sp>
      <p:sp>
        <p:nvSpPr>
          <p:cNvPr id="493" name="TextBox 492">
            <a:extLst>
              <a:ext uri="{FF2B5EF4-FFF2-40B4-BE49-F238E27FC236}">
                <a16:creationId xmlns:a16="http://schemas.microsoft.com/office/drawing/2014/main" id="{18BB3132-B205-2042-B26E-81A8906EBE2F}"/>
              </a:ext>
            </a:extLst>
          </p:cNvPr>
          <p:cNvSpPr txBox="1">
            <a:spLocks/>
          </p:cNvSpPr>
          <p:nvPr/>
        </p:nvSpPr>
        <p:spPr>
          <a:xfrm>
            <a:off x="8474028" y="6470877"/>
            <a:ext cx="6186468" cy="2257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4800" lvl="1" indent="0" defTabSz="1219170">
              <a:spcAft>
                <a:spcPts val="400"/>
              </a:spcAft>
              <a:buFont typeface="Wingdings" panose="05000000000000000000" pitchFamily="2" charset="2"/>
              <a:buNone/>
            </a:pPr>
            <a:r>
              <a:rPr sz="1600">
                <a:solidFill>
                  <a:srgbClr val="262626"/>
                </a:solidFill>
                <a:latin typeface="Arial"/>
              </a:rPr>
              <a:t>НИС ERS (Ethics, Responsibility, Sustainability)</a:t>
            </a:r>
          </a:p>
        </p:txBody>
      </p:sp>
      <p:grpSp>
        <p:nvGrpSpPr>
          <p:cNvPr id="494" name="Group 251">
            <a:extLst>
              <a:ext uri="{FF2B5EF4-FFF2-40B4-BE49-F238E27FC236}">
                <a16:creationId xmlns:a16="http://schemas.microsoft.com/office/drawing/2014/main" id="{C806501F-55D1-094D-BE90-C2D3912C1E93}"/>
              </a:ext>
            </a:extLst>
          </p:cNvPr>
          <p:cNvGrpSpPr/>
          <p:nvPr/>
        </p:nvGrpSpPr>
        <p:grpSpPr>
          <a:xfrm>
            <a:off x="8219326" y="4677689"/>
            <a:ext cx="7027853" cy="270456"/>
            <a:chOff x="872962" y="2422660"/>
            <a:chExt cx="5270890" cy="202842"/>
          </a:xfrm>
        </p:grpSpPr>
        <p:cxnSp>
          <p:nvCxnSpPr>
            <p:cNvPr id="498" name="Straight Connector 245">
              <a:extLst>
                <a:ext uri="{FF2B5EF4-FFF2-40B4-BE49-F238E27FC236}">
                  <a16:creationId xmlns:a16="http://schemas.microsoft.com/office/drawing/2014/main" id="{5E64F46D-DA58-A44E-8718-7B39FC7ADB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3253" y="2616567"/>
              <a:ext cx="5270599" cy="0"/>
            </a:xfrm>
            <a:prstGeom prst="line">
              <a:avLst/>
            </a:prstGeom>
            <a:noFill/>
            <a:ln w="6350" cap="sq" cmpd="sng" algn="ctr">
              <a:solidFill>
                <a:srgbClr val="262626"/>
              </a:solidFill>
              <a:prstDash val="solid"/>
              <a:miter lim="800000"/>
              <a:tailEnd type="none"/>
            </a:ln>
            <a:effectLst/>
          </p:spPr>
        </p:cxnSp>
        <p:sp>
          <p:nvSpPr>
            <p:cNvPr id="496" name="TextBox 495">
              <a:extLst>
                <a:ext uri="{FF2B5EF4-FFF2-40B4-BE49-F238E27FC236}">
                  <a16:creationId xmlns:a16="http://schemas.microsoft.com/office/drawing/2014/main" id="{89CBB691-D3FF-9648-9EB8-53FAA7534C31}"/>
                </a:ext>
              </a:extLst>
            </p:cNvPr>
            <p:cNvSpPr txBox="1">
              <a:spLocks/>
            </p:cNvSpPr>
            <p:nvPr/>
          </p:nvSpPr>
          <p:spPr>
            <a:xfrm>
              <a:off x="872962" y="2422660"/>
              <a:ext cx="5270599" cy="202842"/>
            </a:xfrm>
            <a:prstGeom prst="rect">
              <a:avLst/>
            </a:prstGeom>
          </p:spPr>
          <p:txBody>
            <a:bodyPr vert="horz" wrap="square" lIns="0" tIns="0" rIns="0" bIns="2400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Wingdings" panose="05000000000000000000" pitchFamily="2" charset="2"/>
                <a:buChar char="§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Arial" panose="020B0604020202020204" pitchFamily="34" charset="0"/>
                <a:buChar char="‒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•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̶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endPara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 Black"/>
                <a:cs typeface="Arial" panose="020B0604020202020204" pitchFamily="34" charset="0"/>
              </a:endParaRPr>
            </a:p>
          </p:txBody>
        </p:sp>
      </p:grpSp>
      <p:cxnSp>
        <p:nvCxnSpPr>
          <p:cNvPr id="499" name="Straight Connector 239">
            <a:extLst>
              <a:ext uri="{FF2B5EF4-FFF2-40B4-BE49-F238E27FC236}">
                <a16:creationId xmlns:a16="http://schemas.microsoft.com/office/drawing/2014/main" id="{82A9DEB4-4048-324E-B448-23801EC9ED36}"/>
              </a:ext>
            </a:extLst>
          </p:cNvPr>
          <p:cNvCxnSpPr>
            <a:cxnSpLocks/>
          </p:cNvCxnSpPr>
          <p:nvPr/>
        </p:nvCxnSpPr>
        <p:spPr bwMode="gray">
          <a:xfrm>
            <a:off x="8219715" y="6367557"/>
            <a:ext cx="7027465" cy="0"/>
          </a:xfrm>
          <a:prstGeom prst="line">
            <a:avLst/>
          </a:prstGeom>
          <a:noFill/>
          <a:ln w="6350" cap="flat" cmpd="sng" algn="ctr">
            <a:solidFill>
              <a:srgbClr val="AFAFB1"/>
            </a:solidFill>
            <a:prstDash val="solid"/>
          </a:ln>
          <a:effectLst/>
        </p:spPr>
      </p:cxnSp>
      <p:cxnSp>
        <p:nvCxnSpPr>
          <p:cNvPr id="500" name="Straight Connector 273">
            <a:extLst>
              <a:ext uri="{FF2B5EF4-FFF2-40B4-BE49-F238E27FC236}">
                <a16:creationId xmlns:a16="http://schemas.microsoft.com/office/drawing/2014/main" id="{15C3A03B-F817-9648-B0AC-D2CC04BDD8A4}"/>
              </a:ext>
            </a:extLst>
          </p:cNvPr>
          <p:cNvCxnSpPr>
            <a:cxnSpLocks/>
          </p:cNvCxnSpPr>
          <p:nvPr/>
        </p:nvCxnSpPr>
        <p:spPr bwMode="gray">
          <a:xfrm>
            <a:off x="8219715" y="6799899"/>
            <a:ext cx="7027465" cy="0"/>
          </a:xfrm>
          <a:prstGeom prst="line">
            <a:avLst/>
          </a:prstGeom>
          <a:noFill/>
          <a:ln w="6350" cap="flat" cmpd="sng" algn="ctr">
            <a:solidFill>
              <a:srgbClr val="AFAFB1"/>
            </a:solidFill>
            <a:prstDash val="solid"/>
          </a:ln>
          <a:effectLst/>
        </p:spPr>
      </p:cxnSp>
      <p:cxnSp>
        <p:nvCxnSpPr>
          <p:cNvPr id="501" name="Straight Connector 275">
            <a:extLst>
              <a:ext uri="{FF2B5EF4-FFF2-40B4-BE49-F238E27FC236}">
                <a16:creationId xmlns:a16="http://schemas.microsoft.com/office/drawing/2014/main" id="{70F7C09F-43E6-814D-9C0E-5F2B6CC4E516}"/>
              </a:ext>
            </a:extLst>
          </p:cNvPr>
          <p:cNvCxnSpPr>
            <a:cxnSpLocks/>
          </p:cNvCxnSpPr>
          <p:nvPr/>
        </p:nvCxnSpPr>
        <p:spPr bwMode="gray">
          <a:xfrm>
            <a:off x="8219715" y="7232242"/>
            <a:ext cx="7027465" cy="0"/>
          </a:xfrm>
          <a:prstGeom prst="line">
            <a:avLst/>
          </a:prstGeom>
          <a:noFill/>
          <a:ln w="6350" cap="flat" cmpd="sng" algn="ctr">
            <a:solidFill>
              <a:srgbClr val="AFAFB1"/>
            </a:solidFill>
            <a:prstDash val="solid"/>
          </a:ln>
          <a:effectLst/>
        </p:spPr>
      </p:cxnSp>
      <p:grpSp>
        <p:nvGrpSpPr>
          <p:cNvPr id="502" name="Group 277">
            <a:extLst>
              <a:ext uri="{FF2B5EF4-FFF2-40B4-BE49-F238E27FC236}">
                <a16:creationId xmlns:a16="http://schemas.microsoft.com/office/drawing/2014/main" id="{D86BA57A-3BCF-D34D-9E95-78CE8343268F}"/>
              </a:ext>
            </a:extLst>
          </p:cNvPr>
          <p:cNvGrpSpPr>
            <a:grpSpLocks/>
          </p:cNvGrpSpPr>
          <p:nvPr/>
        </p:nvGrpSpPr>
        <p:grpSpPr>
          <a:xfrm>
            <a:off x="8219715" y="7349663"/>
            <a:ext cx="7027465" cy="270454"/>
            <a:chOff x="457986" y="1201951"/>
            <a:chExt cx="2962792" cy="72832"/>
          </a:xfrm>
        </p:grpSpPr>
        <p:sp>
          <p:nvSpPr>
            <p:cNvPr id="503" name="TextBox 502">
              <a:extLst>
                <a:ext uri="{FF2B5EF4-FFF2-40B4-BE49-F238E27FC236}">
                  <a16:creationId xmlns:a16="http://schemas.microsoft.com/office/drawing/2014/main" id="{78C5D3D0-97CA-1D49-AD17-DDEE3B314DDC}"/>
                </a:ext>
              </a:extLst>
            </p:cNvPr>
            <p:cNvSpPr txBox="1">
              <a:spLocks/>
            </p:cNvSpPr>
            <p:nvPr/>
          </p:nvSpPr>
          <p:spPr>
            <a:xfrm>
              <a:off x="457986" y="1201951"/>
              <a:ext cx="2962792" cy="72832"/>
            </a:xfrm>
            <a:prstGeom prst="rect">
              <a:avLst/>
            </a:prstGeom>
          </p:spPr>
          <p:txBody>
            <a:bodyPr vert="horz" wrap="square" lIns="0" tIns="0" rIns="0" bIns="2400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Wingdings" panose="05000000000000000000" pitchFamily="2" charset="2"/>
                <a:buChar char="§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Arial" panose="020B0604020202020204" pitchFamily="34" charset="0"/>
                <a:buChar char="‒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•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̶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cs typeface="Arial" panose="020B0604020202020204" pitchFamily="34" charset="0"/>
                </a:rPr>
                <a:t>Выпускной проект</a:t>
              </a:r>
            </a:p>
          </p:txBody>
        </p:sp>
        <p:cxnSp>
          <p:nvCxnSpPr>
            <p:cNvPr id="504" name="Straight Connector 280">
              <a:extLst>
                <a:ext uri="{FF2B5EF4-FFF2-40B4-BE49-F238E27FC236}">
                  <a16:creationId xmlns:a16="http://schemas.microsoft.com/office/drawing/2014/main" id="{03F0504A-A7F9-4148-A0B8-C0801387D4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7986" y="1274782"/>
              <a:ext cx="2962792" cy="0"/>
            </a:xfrm>
            <a:prstGeom prst="line">
              <a:avLst/>
            </a:prstGeom>
            <a:noFill/>
            <a:ln w="6350" cap="sq" cmpd="sng" algn="ctr">
              <a:solidFill>
                <a:srgbClr val="262626"/>
              </a:solidFill>
              <a:prstDash val="solid"/>
              <a:miter lim="800000"/>
              <a:tailEnd type="none"/>
            </a:ln>
            <a:effectLst/>
          </p:spPr>
        </p:cxnSp>
      </p:grpSp>
      <p:sp>
        <p:nvSpPr>
          <p:cNvPr id="505" name="TextBox 504">
            <a:extLst>
              <a:ext uri="{FF2B5EF4-FFF2-40B4-BE49-F238E27FC236}">
                <a16:creationId xmlns:a16="http://schemas.microsoft.com/office/drawing/2014/main" id="{66A13B91-B596-B644-A0A0-2754EEDF725A}"/>
              </a:ext>
            </a:extLst>
          </p:cNvPr>
          <p:cNvSpPr txBox="1"/>
          <p:nvPr/>
        </p:nvSpPr>
        <p:spPr>
          <a:xfrm>
            <a:off x="4703115" y="7962948"/>
            <a:ext cx="2739307" cy="789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абота с конфликтами</a:t>
            </a:r>
          </a:p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икладная психология влияния</a:t>
            </a:r>
          </a:p>
        </p:txBody>
      </p:sp>
      <p:sp>
        <p:nvSpPr>
          <p:cNvPr id="506" name="TextBox 505">
            <a:extLst>
              <a:ext uri="{FF2B5EF4-FFF2-40B4-BE49-F238E27FC236}">
                <a16:creationId xmlns:a16="http://schemas.microsoft.com/office/drawing/2014/main" id="{CE967736-B0AC-BB44-8DA2-70C0E03906A5}"/>
              </a:ext>
            </a:extLst>
          </p:cNvPr>
          <p:cNvSpPr txBox="1"/>
          <p:nvPr/>
        </p:nvSpPr>
        <p:spPr>
          <a:xfrm>
            <a:off x="1255954" y="7962948"/>
            <a:ext cx="3298809" cy="789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торилайнинг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и визуализация данных</a:t>
            </a:r>
          </a:p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одающая коммуникация</a:t>
            </a:r>
          </a:p>
        </p:txBody>
      </p:sp>
      <p:sp>
        <p:nvSpPr>
          <p:cNvPr id="507" name="TextBox 506">
            <a:extLst>
              <a:ext uri="{FF2B5EF4-FFF2-40B4-BE49-F238E27FC236}">
                <a16:creationId xmlns:a16="http://schemas.microsoft.com/office/drawing/2014/main" id="{F7FF3AE7-3DBF-9B41-A561-B66B9EBA7104}"/>
              </a:ext>
            </a:extLst>
          </p:cNvPr>
          <p:cNvSpPr txBox="1"/>
          <p:nvPr/>
        </p:nvSpPr>
        <p:spPr>
          <a:xfrm rot="16200000">
            <a:off x="-326580" y="6961518"/>
            <a:ext cx="1996273" cy="2666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 defTabSz="1219170">
              <a:spcBef>
                <a:spcPts val="400"/>
              </a:spcBef>
              <a:spcAft>
                <a:spcPts val="400"/>
              </a:spcAft>
            </a:pPr>
            <a:r>
              <a:rPr lang="ru-RU" sz="1733">
                <a:solidFill>
                  <a:srgbClr val="CB2F0D"/>
                </a:solidFill>
                <a:latin typeface="Arial Black"/>
              </a:rPr>
              <a:t>2 курс</a:t>
            </a:r>
          </a:p>
        </p:txBody>
      </p:sp>
      <p:grpSp>
        <p:nvGrpSpPr>
          <p:cNvPr id="508" name="Group 331">
            <a:extLst>
              <a:ext uri="{FF2B5EF4-FFF2-40B4-BE49-F238E27FC236}">
                <a16:creationId xmlns:a16="http://schemas.microsoft.com/office/drawing/2014/main" id="{C601CEDD-5F8B-3A4B-9333-19A7E979509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894778" y="1676400"/>
            <a:ext cx="3631768" cy="324519"/>
            <a:chOff x="793106" y="1981385"/>
            <a:chExt cx="2723826" cy="407584"/>
          </a:xfrm>
        </p:grpSpPr>
        <p:sp>
          <p:nvSpPr>
            <p:cNvPr id="509" name="Freeform: Shape 79">
              <a:extLst>
                <a:ext uri="{FF2B5EF4-FFF2-40B4-BE49-F238E27FC236}">
                  <a16:creationId xmlns:a16="http://schemas.microsoft.com/office/drawing/2014/main" id="{20D09640-B37B-3B45-AEC0-6105DD625E00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793106" y="1981385"/>
              <a:ext cx="2723826" cy="40758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7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708 w 1828800"/>
                <a:gd name="connsiteY1" fmla="*/ 0 h 914400"/>
                <a:gd name="connsiteX2" fmla="*/ 1828800 w 1828800"/>
                <a:gd name="connsiteY2" fmla="*/ 457200 h 914400"/>
                <a:gd name="connsiteX3" fmla="*/ 17667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708 w 1828800"/>
                <a:gd name="connsiteY1" fmla="*/ 0 h 914400"/>
                <a:gd name="connsiteX2" fmla="*/ 1828800 w 1828800"/>
                <a:gd name="connsiteY2" fmla="*/ 457200 h 914400"/>
                <a:gd name="connsiteX3" fmla="*/ 17667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667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87524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87524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3841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0390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903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287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513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513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877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0030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80030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49258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9542 w 1828800"/>
                <a:gd name="connsiteY1" fmla="*/ 0 h 914400"/>
                <a:gd name="connsiteX2" fmla="*/ 1828800 w 1828800"/>
                <a:gd name="connsiteY2" fmla="*/ 457200 h 914400"/>
                <a:gd name="connsiteX3" fmla="*/ 17795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79542" y="0"/>
                  </a:lnTo>
                  <a:lnTo>
                    <a:pt x="1828800" y="457200"/>
                  </a:lnTo>
                  <a:lnTo>
                    <a:pt x="1779542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rgbClr val="CB2F0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20160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33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endParaRPr>
            </a:p>
          </p:txBody>
        </p:sp>
        <p:sp>
          <p:nvSpPr>
            <p:cNvPr id="510" name="TextBox 509">
              <a:extLst>
                <a:ext uri="{FF2B5EF4-FFF2-40B4-BE49-F238E27FC236}">
                  <a16:creationId xmlns:a16="http://schemas.microsoft.com/office/drawing/2014/main" id="{DBCC4449-CC69-8142-9291-5D34FF92785D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856606" y="2009689"/>
              <a:ext cx="2586961" cy="350975"/>
            </a:xfrm>
            <a:prstGeom prst="rect">
              <a:avLst/>
            </a:prstGeom>
            <a:noFill/>
          </p:spPr>
          <p:txBody>
            <a:bodyPr vert="horz" wrap="square" lIns="20160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Wingdings" panose="05000000000000000000" pitchFamily="2" charset="2"/>
                <a:buChar char="§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Arial" panose="020B0604020202020204" pitchFamily="34" charset="0"/>
                <a:buChar char="‒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•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̶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GB" sz="173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cs typeface="Arial" panose="020B0604020202020204" pitchFamily="34" charset="0"/>
                </a:rPr>
                <a:t>1 </a:t>
              </a:r>
              <a:r>
                <a:rPr kumimoji="0" lang="ru-RU" sz="173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cs typeface="Arial" panose="020B0604020202020204" pitchFamily="34" charset="0"/>
                </a:rPr>
                <a:t>модуль</a:t>
              </a:r>
            </a:p>
          </p:txBody>
        </p:sp>
      </p:grpSp>
      <p:grpSp>
        <p:nvGrpSpPr>
          <p:cNvPr id="511" name="Group 328">
            <a:extLst>
              <a:ext uri="{FF2B5EF4-FFF2-40B4-BE49-F238E27FC236}">
                <a16:creationId xmlns:a16="http://schemas.microsoft.com/office/drawing/2014/main" id="{6C889EB3-1C8B-BD4A-B7DB-242242D0F1AD}"/>
              </a:ext>
            </a:extLst>
          </p:cNvPr>
          <p:cNvGrpSpPr/>
          <p:nvPr/>
        </p:nvGrpSpPr>
        <p:grpSpPr>
          <a:xfrm>
            <a:off x="1001253" y="4665777"/>
            <a:ext cx="7027853" cy="282368"/>
            <a:chOff x="872962" y="2417469"/>
            <a:chExt cx="5270890" cy="211776"/>
          </a:xfrm>
        </p:grpSpPr>
        <p:grpSp>
          <p:nvGrpSpPr>
            <p:cNvPr id="512" name="Group 247">
              <a:extLst>
                <a:ext uri="{FF2B5EF4-FFF2-40B4-BE49-F238E27FC236}">
                  <a16:creationId xmlns:a16="http://schemas.microsoft.com/office/drawing/2014/main" id="{123944F8-4314-5941-8695-D95D45956FAE}"/>
                </a:ext>
              </a:extLst>
            </p:cNvPr>
            <p:cNvGrpSpPr>
              <a:grpSpLocks/>
            </p:cNvGrpSpPr>
            <p:nvPr/>
          </p:nvGrpSpPr>
          <p:grpSpPr>
            <a:xfrm>
              <a:off x="873253" y="2417469"/>
              <a:ext cx="5270599" cy="202841"/>
              <a:chOff x="457986" y="1201950"/>
              <a:chExt cx="2962792" cy="72832"/>
            </a:xfrm>
          </p:grpSpPr>
          <p:sp>
            <p:nvSpPr>
              <p:cNvPr id="514" name="TextBox 513">
                <a:extLst>
                  <a:ext uri="{FF2B5EF4-FFF2-40B4-BE49-F238E27FC236}">
                    <a16:creationId xmlns:a16="http://schemas.microsoft.com/office/drawing/2014/main" id="{F9721B42-22BC-2145-BD72-D19CC4C33F4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7986" y="1201950"/>
                <a:ext cx="2962792" cy="72832"/>
              </a:xfrm>
              <a:prstGeom prst="rect">
                <a:avLst/>
              </a:prstGeom>
            </p:spPr>
            <p:txBody>
              <a:bodyPr vert="horz" wrap="square" lIns="0" tIns="0" rIns="0" bIns="24000" rtlCol="0" anchor="b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Segoe UI" panose="020B0502040204020203" pitchFamily="34" charset="0"/>
                  <a:buChar char="​"/>
                  <a:defRPr lang="en-US" sz="1400" dirty="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230396" lvl="1" indent="-226796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rgbClr val="CB2F0D"/>
                  </a:buClr>
                  <a:buSzPct val="110000"/>
                  <a:buFont typeface="Wingdings" panose="05000000000000000000" pitchFamily="2" charset="2"/>
                  <a:buChar char="§"/>
                  <a:defRPr lang="en-US" sz="1400" dirty="0"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442793" lvl="2" indent="-215997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rgbClr val="CB2F0D"/>
                  </a:buClr>
                  <a:buSzPct val="110000"/>
                  <a:buFont typeface="Arial" panose="020B0604020202020204" pitchFamily="34" charset="0"/>
                  <a:buChar char="‒"/>
                  <a:defRPr lang="en-US" sz="1400" dirty="0"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597590" lvl="3" indent="-15119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rgbClr val="CB2F0D"/>
                  </a:buClr>
                  <a:buSzPct val="100000"/>
                  <a:buFont typeface="Arial" panose="020B0604020202020204" pitchFamily="34" charset="0"/>
                  <a:buChar char="•"/>
                  <a:defRPr lang="en-US" sz="1400" dirty="0"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817187" lvl="4" indent="-14759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rgbClr val="CB2F0D"/>
                  </a:buClr>
                  <a:buSzPct val="100000"/>
                  <a:buFont typeface="Arial" panose="020B0604020202020204" pitchFamily="34" charset="0"/>
                  <a:buChar char="̶"/>
                  <a:defRPr lang="en-US" sz="1400" dirty="0"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67"/>
                  </a:spcAft>
                  <a:buClrTx/>
                  <a:buSzTx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Arial"/>
                    <a:cs typeface="Arial" panose="020B0604020202020204" pitchFamily="34" charset="0"/>
                  </a:rPr>
                  <a:t>Специализации (выбор 1 из 2)</a:t>
                </a:r>
              </a:p>
            </p:txBody>
          </p:sp>
          <p:cxnSp>
            <p:nvCxnSpPr>
              <p:cNvPr id="515" name="Straight Connector 250">
                <a:extLst>
                  <a:ext uri="{FF2B5EF4-FFF2-40B4-BE49-F238E27FC236}">
                    <a16:creationId xmlns:a16="http://schemas.microsoft.com/office/drawing/2014/main" id="{E0CEC1B7-8CCE-F94C-AE9C-31C0352BE3A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7986" y="1274782"/>
                <a:ext cx="2962792" cy="0"/>
              </a:xfrm>
              <a:prstGeom prst="line">
                <a:avLst/>
              </a:prstGeom>
              <a:noFill/>
              <a:ln w="6350" cap="sq" cmpd="sng" algn="ctr">
                <a:solidFill>
                  <a:srgbClr val="262626"/>
                </a:solidFill>
                <a:prstDash val="solid"/>
                <a:miter lim="800000"/>
                <a:tailEnd type="none"/>
              </a:ln>
              <a:effectLst/>
            </p:spPr>
          </p:cxnSp>
        </p:grpSp>
        <p:sp>
          <p:nvSpPr>
            <p:cNvPr id="513" name="TextBox 512">
              <a:extLst>
                <a:ext uri="{FF2B5EF4-FFF2-40B4-BE49-F238E27FC236}">
                  <a16:creationId xmlns:a16="http://schemas.microsoft.com/office/drawing/2014/main" id="{2AF7C884-3D21-9042-9DCF-4F83BC80344A}"/>
                </a:ext>
              </a:extLst>
            </p:cNvPr>
            <p:cNvSpPr txBox="1">
              <a:spLocks/>
            </p:cNvSpPr>
            <p:nvPr/>
          </p:nvSpPr>
          <p:spPr>
            <a:xfrm>
              <a:off x="872962" y="2426403"/>
              <a:ext cx="5270599" cy="202842"/>
            </a:xfrm>
            <a:prstGeom prst="rect">
              <a:avLst/>
            </a:prstGeom>
          </p:spPr>
          <p:txBody>
            <a:bodyPr vert="horz" wrap="square" lIns="0" tIns="0" rIns="0" bIns="2400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Wingdings" panose="05000000000000000000" pitchFamily="2" charset="2"/>
                <a:buChar char="§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Arial" panose="020B0604020202020204" pitchFamily="34" charset="0"/>
                <a:buChar char="‒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•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̶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endPara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 Black"/>
                <a:cs typeface="Arial" panose="020B0604020202020204" pitchFamily="34" charset="0"/>
              </a:endParaRPr>
            </a:p>
          </p:txBody>
        </p:sp>
      </p:grpSp>
      <p:sp>
        <p:nvSpPr>
          <p:cNvPr id="516" name="TextBox 515">
            <a:extLst>
              <a:ext uri="{FF2B5EF4-FFF2-40B4-BE49-F238E27FC236}">
                <a16:creationId xmlns:a16="http://schemas.microsoft.com/office/drawing/2014/main" id="{5A1B89B4-8A9C-6C43-B32F-D022B9726C17}"/>
              </a:ext>
            </a:extLst>
          </p:cNvPr>
          <p:cNvSpPr txBox="1">
            <a:spLocks/>
          </p:cNvSpPr>
          <p:nvPr/>
        </p:nvSpPr>
        <p:spPr>
          <a:xfrm>
            <a:off x="1255954" y="7311730"/>
            <a:ext cx="6712234" cy="2299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lvl="1" indent="-302387" defTabSz="1219170">
              <a:spcAft>
                <a:spcPts val="400"/>
              </a:spcAft>
            </a:pPr>
            <a:r>
              <a:rPr lang="ru-RU" sz="1600">
                <a:solidFill>
                  <a:srgbClr val="262626"/>
                </a:solidFill>
                <a:latin typeface="Arial"/>
              </a:rPr>
              <a:t>НИС Продвинутые практики решения кейсов и дизайн-мышление</a:t>
            </a:r>
          </a:p>
        </p:txBody>
      </p:sp>
      <p:sp>
        <p:nvSpPr>
          <p:cNvPr id="517" name="TextBox 516">
            <a:extLst>
              <a:ext uri="{FF2B5EF4-FFF2-40B4-BE49-F238E27FC236}">
                <a16:creationId xmlns:a16="http://schemas.microsoft.com/office/drawing/2014/main" id="{FA8E9A4D-D3E9-B44C-8513-84EACBB88BA3}"/>
              </a:ext>
            </a:extLst>
          </p:cNvPr>
          <p:cNvSpPr txBox="1">
            <a:spLocks/>
          </p:cNvSpPr>
          <p:nvPr/>
        </p:nvSpPr>
        <p:spPr>
          <a:xfrm>
            <a:off x="4895378" y="5292640"/>
            <a:ext cx="3133339" cy="49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Цифровой маркетинг и омниканальность</a:t>
            </a: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AA51C799-C386-9740-A34F-4C876D9A77DF}"/>
              </a:ext>
            </a:extLst>
          </p:cNvPr>
          <p:cNvSpPr txBox="1">
            <a:spLocks/>
          </p:cNvSpPr>
          <p:nvPr/>
        </p:nvSpPr>
        <p:spPr>
          <a:xfrm>
            <a:off x="4895378" y="5802571"/>
            <a:ext cx="3133339" cy="677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азвитие клиентов и управление клиентским опытом</a:t>
            </a:r>
          </a:p>
        </p:txBody>
      </p:sp>
      <p:sp>
        <p:nvSpPr>
          <p:cNvPr id="519" name="TextBox 518">
            <a:extLst>
              <a:ext uri="{FF2B5EF4-FFF2-40B4-BE49-F238E27FC236}">
                <a16:creationId xmlns:a16="http://schemas.microsoft.com/office/drawing/2014/main" id="{C8BC771B-DFEF-6A4E-92F7-5A1F9652EF16}"/>
              </a:ext>
            </a:extLst>
          </p:cNvPr>
          <p:cNvSpPr txBox="1">
            <a:spLocks/>
          </p:cNvSpPr>
          <p:nvPr/>
        </p:nvSpPr>
        <p:spPr>
          <a:xfrm>
            <a:off x="1301393" y="5293810"/>
            <a:ext cx="3253370" cy="49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Инвестиционный анализ, M&amp;A и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ue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ligence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0" name="TextBox 519">
            <a:extLst>
              <a:ext uri="{FF2B5EF4-FFF2-40B4-BE49-F238E27FC236}">
                <a16:creationId xmlns:a16="http://schemas.microsoft.com/office/drawing/2014/main" id="{F3884F31-9032-3042-976E-42CF353E43EE}"/>
              </a:ext>
            </a:extLst>
          </p:cNvPr>
          <p:cNvSpPr txBox="1">
            <a:spLocks/>
          </p:cNvSpPr>
          <p:nvPr/>
        </p:nvSpPr>
        <p:spPr>
          <a:xfrm>
            <a:off x="1301393" y="5803741"/>
            <a:ext cx="3253370" cy="677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Управление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организаци-онными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и культурными изменениями</a:t>
            </a:r>
          </a:p>
        </p:txBody>
      </p:sp>
      <p:sp>
        <p:nvSpPr>
          <p:cNvPr id="521" name="TextBox 520">
            <a:extLst>
              <a:ext uri="{FF2B5EF4-FFF2-40B4-BE49-F238E27FC236}">
                <a16:creationId xmlns:a16="http://schemas.microsoft.com/office/drawing/2014/main" id="{E0163F98-8E65-3643-94DB-8BB1F0D60F51}"/>
              </a:ext>
            </a:extLst>
          </p:cNvPr>
          <p:cNvSpPr txBox="1">
            <a:spLocks/>
          </p:cNvSpPr>
          <p:nvPr/>
        </p:nvSpPr>
        <p:spPr>
          <a:xfrm>
            <a:off x="1255954" y="6652848"/>
            <a:ext cx="6186468" cy="225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одвинутое финансовое моделирование</a:t>
            </a: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2FC08615-683B-8645-B8F5-1B02C51B315A}"/>
              </a:ext>
            </a:extLst>
          </p:cNvPr>
          <p:cNvSpPr txBox="1">
            <a:spLocks/>
          </p:cNvSpPr>
          <p:nvPr/>
        </p:nvSpPr>
        <p:spPr>
          <a:xfrm>
            <a:off x="1255954" y="6930914"/>
            <a:ext cx="6186468" cy="225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оммерческие инструменты и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ifetime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alue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клиента</a:t>
            </a:r>
          </a:p>
        </p:txBody>
      </p:sp>
      <p:cxnSp>
        <p:nvCxnSpPr>
          <p:cNvPr id="523" name="Straight Connector 198">
            <a:extLst>
              <a:ext uri="{FF2B5EF4-FFF2-40B4-BE49-F238E27FC236}">
                <a16:creationId xmlns:a16="http://schemas.microsoft.com/office/drawing/2014/main" id="{5D72EE40-B0D4-6E4C-A47F-F35E3A4699FB}"/>
              </a:ext>
            </a:extLst>
          </p:cNvPr>
          <p:cNvCxnSpPr>
            <a:cxnSpLocks/>
          </p:cNvCxnSpPr>
          <p:nvPr/>
        </p:nvCxnSpPr>
        <p:spPr bwMode="gray">
          <a:xfrm>
            <a:off x="1001253" y="7253204"/>
            <a:ext cx="7027853" cy="0"/>
          </a:xfrm>
          <a:prstGeom prst="line">
            <a:avLst/>
          </a:prstGeom>
          <a:noFill/>
          <a:ln w="6350" cap="flat" cmpd="sng" algn="ctr">
            <a:solidFill>
              <a:srgbClr val="AFAFB1"/>
            </a:solidFill>
            <a:prstDash val="solid"/>
          </a:ln>
          <a:effectLst/>
        </p:spPr>
      </p:cxnSp>
      <p:cxnSp>
        <p:nvCxnSpPr>
          <p:cNvPr id="524" name="Straight Connector 199">
            <a:extLst>
              <a:ext uri="{FF2B5EF4-FFF2-40B4-BE49-F238E27FC236}">
                <a16:creationId xmlns:a16="http://schemas.microsoft.com/office/drawing/2014/main" id="{63D809C7-85B0-D145-B159-CDB533E64058}"/>
              </a:ext>
            </a:extLst>
          </p:cNvPr>
          <p:cNvCxnSpPr>
            <a:cxnSpLocks/>
          </p:cNvCxnSpPr>
          <p:nvPr/>
        </p:nvCxnSpPr>
        <p:spPr bwMode="gray">
          <a:xfrm>
            <a:off x="1255954" y="7595958"/>
            <a:ext cx="6773152" cy="0"/>
          </a:xfrm>
          <a:prstGeom prst="line">
            <a:avLst/>
          </a:prstGeom>
          <a:noFill/>
          <a:ln w="6350" cap="flat" cmpd="sng" algn="ctr">
            <a:solidFill>
              <a:srgbClr val="AFAFB1"/>
            </a:solidFill>
            <a:prstDash val="solid"/>
          </a:ln>
          <a:effectLst/>
        </p:spPr>
      </p:cxnSp>
      <p:sp>
        <p:nvSpPr>
          <p:cNvPr id="525" name="TextBox 524">
            <a:extLst>
              <a:ext uri="{FF2B5EF4-FFF2-40B4-BE49-F238E27FC236}">
                <a16:creationId xmlns:a16="http://schemas.microsoft.com/office/drawing/2014/main" id="{258FA7F8-99FC-1D4A-9DE0-72BFD4C52C21}"/>
              </a:ext>
            </a:extLst>
          </p:cNvPr>
          <p:cNvSpPr txBox="1">
            <a:spLocks/>
          </p:cNvSpPr>
          <p:nvPr/>
        </p:nvSpPr>
        <p:spPr>
          <a:xfrm>
            <a:off x="1001253" y="6344320"/>
            <a:ext cx="7027465" cy="250002"/>
          </a:xfrm>
          <a:prstGeom prst="rect">
            <a:avLst/>
          </a:prstGeom>
        </p:spPr>
        <p:txBody>
          <a:bodyPr vert="horz" wrap="square" lIns="0" tIns="0" rIns="0" bIns="2400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 defTabSz="1219170">
              <a:spcBef>
                <a:spcPts val="0"/>
              </a:spcBef>
              <a:spcAft>
                <a:spcPts val="267"/>
              </a:spcAft>
              <a:buFont typeface="Segoe UI" panose="020B0502040204020203" pitchFamily="34" charset="0"/>
              <a:buNone/>
            </a:pPr>
            <a:endParaRPr lang="ru-RU" sz="1467" b="1">
              <a:solidFill>
                <a:srgbClr val="262626"/>
              </a:solidFill>
              <a:latin typeface="Arial Black"/>
            </a:endParaRPr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2BC604DF-CCA6-334A-8640-E7FAD8A0F3B0}"/>
              </a:ext>
            </a:extLst>
          </p:cNvPr>
          <p:cNvSpPr txBox="1">
            <a:spLocks/>
          </p:cNvSpPr>
          <p:nvPr/>
        </p:nvSpPr>
        <p:spPr>
          <a:xfrm>
            <a:off x="998968" y="7633966"/>
            <a:ext cx="6772780" cy="270456"/>
          </a:xfrm>
          <a:prstGeom prst="rect">
            <a:avLst/>
          </a:prstGeom>
        </p:spPr>
        <p:txBody>
          <a:bodyPr vert="horz" wrap="square" lIns="0" tIns="0" rIns="0" bIns="2400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1219170">
              <a:spcBef>
                <a:spcPts val="0"/>
              </a:spcBef>
              <a:spcAft>
                <a:spcPts val="267"/>
              </a:spcAft>
            </a:pPr>
            <a:r>
              <a:rPr lang="ru-RU" sz="1600" b="1">
                <a:solidFill>
                  <a:srgbClr val="262626"/>
                </a:solidFill>
                <a:latin typeface="Arial"/>
              </a:rPr>
              <a:t>Проектные семинары – навыки коммуникации (выбор 2 из 4)</a:t>
            </a:r>
            <a:r>
              <a:rPr lang="ru-RU" sz="1600" b="1" baseline="30000">
                <a:solidFill>
                  <a:srgbClr val="262626"/>
                </a:solidFill>
                <a:latin typeface="Arial"/>
              </a:rPr>
              <a:t>1</a:t>
            </a:r>
            <a:r>
              <a:rPr lang="ru-RU" sz="1600" b="1">
                <a:solidFill>
                  <a:srgbClr val="262626"/>
                </a:solidFill>
                <a:latin typeface="Arial"/>
              </a:rPr>
              <a:t> </a:t>
            </a:r>
          </a:p>
        </p:txBody>
      </p:sp>
      <p:cxnSp>
        <p:nvCxnSpPr>
          <p:cNvPr id="527" name="Straight Connector 263">
            <a:extLst>
              <a:ext uri="{FF2B5EF4-FFF2-40B4-BE49-F238E27FC236}">
                <a16:creationId xmlns:a16="http://schemas.microsoft.com/office/drawing/2014/main" id="{D69520A4-14DD-F241-BC38-CE112EF932B2}"/>
              </a:ext>
            </a:extLst>
          </p:cNvPr>
          <p:cNvCxnSpPr>
            <a:cxnSpLocks/>
          </p:cNvCxnSpPr>
          <p:nvPr/>
        </p:nvCxnSpPr>
        <p:spPr>
          <a:xfrm flipV="1">
            <a:off x="998968" y="7904422"/>
            <a:ext cx="6772780" cy="0"/>
          </a:xfrm>
          <a:prstGeom prst="line">
            <a:avLst/>
          </a:prstGeom>
          <a:noFill/>
          <a:ln w="6350" cap="sq" cmpd="sng" algn="ctr">
            <a:solidFill>
              <a:srgbClr val="262626"/>
            </a:solidFill>
            <a:prstDash val="solid"/>
            <a:miter lim="800000"/>
            <a:tailEnd type="none"/>
          </a:ln>
          <a:effectLst/>
        </p:spPr>
      </p:cxnSp>
      <p:sp>
        <p:nvSpPr>
          <p:cNvPr id="528" name="TextBox 527">
            <a:extLst>
              <a:ext uri="{FF2B5EF4-FFF2-40B4-BE49-F238E27FC236}">
                <a16:creationId xmlns:a16="http://schemas.microsoft.com/office/drawing/2014/main" id="{567D78CA-E9D3-9C4C-8422-FD164E995B17}"/>
              </a:ext>
            </a:extLst>
          </p:cNvPr>
          <p:cNvSpPr txBox="1">
            <a:spLocks/>
          </p:cNvSpPr>
          <p:nvPr/>
        </p:nvSpPr>
        <p:spPr>
          <a:xfrm>
            <a:off x="1606264" y="4991149"/>
            <a:ext cx="3325992" cy="270456"/>
          </a:xfrm>
          <a:prstGeom prst="rect">
            <a:avLst/>
          </a:prstGeom>
        </p:spPr>
        <p:txBody>
          <a:bodyPr vert="horz" wrap="square" lIns="0" tIns="0" rIns="0" bIns="2400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1219170">
              <a:spcBef>
                <a:spcPts val="0"/>
              </a:spcBef>
              <a:spcAft>
                <a:spcPts val="267"/>
              </a:spcAft>
            </a:pPr>
            <a:r>
              <a:rPr lang="ru-RU" sz="1600" b="1">
                <a:solidFill>
                  <a:srgbClr val="262626"/>
                </a:solidFill>
                <a:latin typeface="Arial"/>
              </a:rPr>
              <a:t>Стратегии развития бизнеса</a:t>
            </a:r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50B306C9-19AB-5F48-8C6D-25A323A60BC4}"/>
              </a:ext>
            </a:extLst>
          </p:cNvPr>
          <p:cNvSpPr txBox="1">
            <a:spLocks/>
          </p:cNvSpPr>
          <p:nvPr/>
        </p:nvSpPr>
        <p:spPr>
          <a:xfrm>
            <a:off x="4895379" y="5005542"/>
            <a:ext cx="3325992" cy="270456"/>
          </a:xfrm>
          <a:prstGeom prst="rect">
            <a:avLst/>
          </a:prstGeom>
        </p:spPr>
        <p:txBody>
          <a:bodyPr vert="horz" wrap="square" lIns="0" tIns="0" rIns="0" bIns="2400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1219170">
              <a:spcBef>
                <a:spcPts val="0"/>
              </a:spcBef>
              <a:spcAft>
                <a:spcPts val="267"/>
              </a:spcAft>
            </a:pPr>
            <a:r>
              <a:rPr lang="ru-RU" sz="1600" b="1">
                <a:solidFill>
                  <a:srgbClr val="262626"/>
                </a:solidFill>
                <a:latin typeface="Arial"/>
              </a:rPr>
              <a:t>Цифровая трансформация</a:t>
            </a:r>
          </a:p>
        </p:txBody>
      </p:sp>
      <p:sp>
        <p:nvSpPr>
          <p:cNvPr id="530" name="TextBox 529">
            <a:extLst>
              <a:ext uri="{FF2B5EF4-FFF2-40B4-BE49-F238E27FC236}">
                <a16:creationId xmlns:a16="http://schemas.microsoft.com/office/drawing/2014/main" id="{75F183A9-6F9C-614E-87A3-D6487D561F2D}"/>
              </a:ext>
            </a:extLst>
          </p:cNvPr>
          <p:cNvSpPr txBox="1">
            <a:spLocks/>
          </p:cNvSpPr>
          <p:nvPr/>
        </p:nvSpPr>
        <p:spPr>
          <a:xfrm>
            <a:off x="8506724" y="8051756"/>
            <a:ext cx="2739307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онсалтинговый проект</a:t>
            </a:r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46A8AFA5-F3C5-B045-853C-F9CF908E8B65}"/>
              </a:ext>
            </a:extLst>
          </p:cNvPr>
          <p:cNvSpPr txBox="1">
            <a:spLocks/>
          </p:cNvSpPr>
          <p:nvPr/>
        </p:nvSpPr>
        <p:spPr>
          <a:xfrm>
            <a:off x="11920137" y="7944520"/>
            <a:ext cx="3357454" cy="49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азработка цифрового продукта</a:t>
            </a:r>
          </a:p>
        </p:txBody>
      </p:sp>
      <p:grpSp>
        <p:nvGrpSpPr>
          <p:cNvPr id="532" name="Group 308">
            <a:extLst>
              <a:ext uri="{FF2B5EF4-FFF2-40B4-BE49-F238E27FC236}">
                <a16:creationId xmlns:a16="http://schemas.microsoft.com/office/drawing/2014/main" id="{9151B081-AE6F-7E43-B204-520D81FED4C9}"/>
              </a:ext>
            </a:extLst>
          </p:cNvPr>
          <p:cNvGrpSpPr>
            <a:grpSpLocks/>
          </p:cNvGrpSpPr>
          <p:nvPr/>
        </p:nvGrpSpPr>
        <p:grpSpPr>
          <a:xfrm>
            <a:off x="8474027" y="7695628"/>
            <a:ext cx="3413413" cy="515372"/>
            <a:chOff x="872962" y="2238974"/>
            <a:chExt cx="5409431" cy="386528"/>
          </a:xfrm>
        </p:grpSpPr>
        <p:sp>
          <p:nvSpPr>
            <p:cNvPr id="533" name="TextBox 532">
              <a:extLst>
                <a:ext uri="{FF2B5EF4-FFF2-40B4-BE49-F238E27FC236}">
                  <a16:creationId xmlns:a16="http://schemas.microsoft.com/office/drawing/2014/main" id="{3FCE35B8-B905-8344-AD89-A066152C6929}"/>
                </a:ext>
              </a:extLst>
            </p:cNvPr>
            <p:cNvSpPr txBox="1">
              <a:spLocks/>
            </p:cNvSpPr>
            <p:nvPr/>
          </p:nvSpPr>
          <p:spPr>
            <a:xfrm>
              <a:off x="1011795" y="2238974"/>
              <a:ext cx="5270598" cy="202841"/>
            </a:xfrm>
            <a:prstGeom prst="rect">
              <a:avLst/>
            </a:prstGeom>
          </p:spPr>
          <p:txBody>
            <a:bodyPr vert="horz" wrap="square" lIns="0" tIns="0" rIns="0" bIns="2400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Wingdings" panose="05000000000000000000" pitchFamily="2" charset="2"/>
                <a:buChar char="§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Arial" panose="020B0604020202020204" pitchFamily="34" charset="0"/>
                <a:buChar char="‒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•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̶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1219170">
                <a:spcBef>
                  <a:spcPts val="0"/>
                </a:spcBef>
                <a:spcAft>
                  <a:spcPts val="267"/>
                </a:spcAft>
              </a:pPr>
              <a:r>
                <a:rPr lang="ru-RU" sz="1600" b="1">
                  <a:solidFill>
                    <a:srgbClr val="262626"/>
                  </a:solidFill>
                  <a:latin typeface="Arial"/>
                </a:rPr>
                <a:t>Стратегии развития бизнеса</a:t>
              </a:r>
            </a:p>
          </p:txBody>
        </p:sp>
        <p:sp>
          <p:nvSpPr>
            <p:cNvPr id="534" name="TextBox 533">
              <a:extLst>
                <a:ext uri="{FF2B5EF4-FFF2-40B4-BE49-F238E27FC236}">
                  <a16:creationId xmlns:a16="http://schemas.microsoft.com/office/drawing/2014/main" id="{319951F8-3363-1A44-9DF9-97DD10D664EB}"/>
                </a:ext>
              </a:extLst>
            </p:cNvPr>
            <p:cNvSpPr txBox="1">
              <a:spLocks/>
            </p:cNvSpPr>
            <p:nvPr/>
          </p:nvSpPr>
          <p:spPr>
            <a:xfrm>
              <a:off x="872962" y="2422661"/>
              <a:ext cx="5270598" cy="202841"/>
            </a:xfrm>
            <a:prstGeom prst="rect">
              <a:avLst/>
            </a:prstGeom>
          </p:spPr>
          <p:txBody>
            <a:bodyPr vert="horz" wrap="square" lIns="0" tIns="0" rIns="0" bIns="2400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Wingdings" panose="05000000000000000000" pitchFamily="2" charset="2"/>
                <a:buChar char="§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Arial" panose="020B0604020202020204" pitchFamily="34" charset="0"/>
                <a:buChar char="‒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•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̶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r" defTabSz="1219170">
                <a:spcBef>
                  <a:spcPts val="0"/>
                </a:spcBef>
                <a:spcAft>
                  <a:spcPts val="267"/>
                </a:spcAft>
              </a:pPr>
              <a:endParaRPr lang="ru-RU" sz="1600" b="1">
                <a:solidFill>
                  <a:srgbClr val="262626"/>
                </a:solidFill>
                <a:latin typeface="Arial Black"/>
              </a:endParaRPr>
            </a:p>
          </p:txBody>
        </p:sp>
      </p:grpSp>
      <p:grpSp>
        <p:nvGrpSpPr>
          <p:cNvPr id="535" name="Group 313">
            <a:extLst>
              <a:ext uri="{FF2B5EF4-FFF2-40B4-BE49-F238E27FC236}">
                <a16:creationId xmlns:a16="http://schemas.microsoft.com/office/drawing/2014/main" id="{327B7D00-AAE7-3442-9474-77F71F35A7F1}"/>
              </a:ext>
            </a:extLst>
          </p:cNvPr>
          <p:cNvGrpSpPr>
            <a:grpSpLocks/>
          </p:cNvGrpSpPr>
          <p:nvPr/>
        </p:nvGrpSpPr>
        <p:grpSpPr>
          <a:xfrm>
            <a:off x="11921187" y="7686544"/>
            <a:ext cx="3572560" cy="524448"/>
            <a:chOff x="872962" y="2232166"/>
            <a:chExt cx="5661640" cy="393336"/>
          </a:xfrm>
        </p:grpSpPr>
        <p:sp>
          <p:nvSpPr>
            <p:cNvPr id="536" name="TextBox 535">
              <a:extLst>
                <a:ext uri="{FF2B5EF4-FFF2-40B4-BE49-F238E27FC236}">
                  <a16:creationId xmlns:a16="http://schemas.microsoft.com/office/drawing/2014/main" id="{1942A5C3-F9CA-004D-8C64-FC9CB66D3AED}"/>
                </a:ext>
              </a:extLst>
            </p:cNvPr>
            <p:cNvSpPr txBox="1">
              <a:spLocks/>
            </p:cNvSpPr>
            <p:nvPr/>
          </p:nvSpPr>
          <p:spPr>
            <a:xfrm>
              <a:off x="1264004" y="2232166"/>
              <a:ext cx="5270598" cy="202842"/>
            </a:xfrm>
            <a:prstGeom prst="rect">
              <a:avLst/>
            </a:prstGeom>
          </p:spPr>
          <p:txBody>
            <a:bodyPr vert="horz" wrap="square" lIns="0" tIns="0" rIns="0" bIns="2400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Wingdings" panose="05000000000000000000" pitchFamily="2" charset="2"/>
                <a:buChar char="§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Arial" panose="020B0604020202020204" pitchFamily="34" charset="0"/>
                <a:buChar char="‒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•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̶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1219170">
                <a:spcBef>
                  <a:spcPts val="0"/>
                </a:spcBef>
                <a:spcAft>
                  <a:spcPts val="267"/>
                </a:spcAft>
              </a:pPr>
              <a:r>
                <a:rPr lang="ru-RU" sz="1600" b="1">
                  <a:solidFill>
                    <a:srgbClr val="262626"/>
                  </a:solidFill>
                  <a:latin typeface="Arial"/>
                </a:rPr>
                <a:t>Цифровая трансформация</a:t>
              </a:r>
            </a:p>
          </p:txBody>
        </p:sp>
        <p:sp>
          <p:nvSpPr>
            <p:cNvPr id="537" name="TextBox 536">
              <a:extLst>
                <a:ext uri="{FF2B5EF4-FFF2-40B4-BE49-F238E27FC236}">
                  <a16:creationId xmlns:a16="http://schemas.microsoft.com/office/drawing/2014/main" id="{6CD9E52A-7D80-4149-BD9A-B2DF6B88EF45}"/>
                </a:ext>
              </a:extLst>
            </p:cNvPr>
            <p:cNvSpPr txBox="1">
              <a:spLocks/>
            </p:cNvSpPr>
            <p:nvPr/>
          </p:nvSpPr>
          <p:spPr>
            <a:xfrm>
              <a:off x="872962" y="2422660"/>
              <a:ext cx="5270598" cy="202842"/>
            </a:xfrm>
            <a:prstGeom prst="rect">
              <a:avLst/>
            </a:prstGeom>
          </p:spPr>
          <p:txBody>
            <a:bodyPr vert="horz" wrap="square" lIns="0" tIns="0" rIns="0" bIns="2400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Wingdings" panose="05000000000000000000" pitchFamily="2" charset="2"/>
                <a:buChar char="§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Arial" panose="020B0604020202020204" pitchFamily="34" charset="0"/>
                <a:buChar char="‒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•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̶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r" defTabSz="1219170">
                <a:spcBef>
                  <a:spcPts val="0"/>
                </a:spcBef>
                <a:spcAft>
                  <a:spcPts val="267"/>
                </a:spcAft>
              </a:pPr>
              <a:endParaRPr lang="ru-RU" sz="1600" b="1">
                <a:solidFill>
                  <a:srgbClr val="262626"/>
                </a:solidFill>
                <a:latin typeface="Arial Black"/>
              </a:endParaRPr>
            </a:p>
          </p:txBody>
        </p:sp>
      </p:grpSp>
      <p:sp>
        <p:nvSpPr>
          <p:cNvPr id="538" name="Rectangle 130">
            <a:extLst>
              <a:ext uri="{FF2B5EF4-FFF2-40B4-BE49-F238E27FC236}">
                <a16:creationId xmlns:a16="http://schemas.microsoft.com/office/drawing/2014/main" id="{8DA3CA65-C3B2-1545-8813-FF52FC7A1BAD}"/>
              </a:ext>
            </a:extLst>
          </p:cNvPr>
          <p:cNvSpPr>
            <a:spLocks/>
          </p:cNvSpPr>
          <p:nvPr/>
        </p:nvSpPr>
        <p:spPr>
          <a:xfrm>
            <a:off x="1001253" y="8698582"/>
            <a:ext cx="133532" cy="181291"/>
          </a:xfrm>
          <a:prstGeom prst="rect">
            <a:avLst/>
          </a:prstGeom>
          <a:solidFill>
            <a:srgbClr val="F0F0F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9" name="Rectangle 131">
            <a:extLst>
              <a:ext uri="{FF2B5EF4-FFF2-40B4-BE49-F238E27FC236}">
                <a16:creationId xmlns:a16="http://schemas.microsoft.com/office/drawing/2014/main" id="{D6E68C33-3140-BE44-892F-86E4603D0C5B}"/>
              </a:ext>
            </a:extLst>
          </p:cNvPr>
          <p:cNvSpPr>
            <a:spLocks/>
          </p:cNvSpPr>
          <p:nvPr/>
        </p:nvSpPr>
        <p:spPr>
          <a:xfrm>
            <a:off x="4642530" y="8698582"/>
            <a:ext cx="133532" cy="181291"/>
          </a:xfrm>
          <a:prstGeom prst="rect">
            <a:avLst/>
          </a:prstGeom>
          <a:solidFill>
            <a:srgbClr val="F0F0F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0" name="Rectangle 128">
            <a:extLst>
              <a:ext uri="{FF2B5EF4-FFF2-40B4-BE49-F238E27FC236}">
                <a16:creationId xmlns:a16="http://schemas.microsoft.com/office/drawing/2014/main" id="{B80BD345-5762-5548-8188-E90BB27F9EDE}"/>
              </a:ext>
            </a:extLst>
          </p:cNvPr>
          <p:cNvSpPr>
            <a:spLocks/>
          </p:cNvSpPr>
          <p:nvPr/>
        </p:nvSpPr>
        <p:spPr>
          <a:xfrm>
            <a:off x="8217041" y="8519387"/>
            <a:ext cx="7027853" cy="360484"/>
          </a:xfrm>
          <a:prstGeom prst="rect">
            <a:avLst/>
          </a:prstGeom>
          <a:solidFill>
            <a:srgbClr val="F0F0F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1" name="TextBox 540">
            <a:extLst>
              <a:ext uri="{FF2B5EF4-FFF2-40B4-BE49-F238E27FC236}">
                <a16:creationId xmlns:a16="http://schemas.microsoft.com/office/drawing/2014/main" id="{C1CA62C1-9FAB-FA41-9F35-5875753871DC}"/>
              </a:ext>
            </a:extLst>
          </p:cNvPr>
          <p:cNvSpPr txBox="1">
            <a:spLocks/>
          </p:cNvSpPr>
          <p:nvPr/>
        </p:nvSpPr>
        <p:spPr>
          <a:xfrm>
            <a:off x="8474028" y="8578419"/>
            <a:ext cx="618646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lvl="1" indent="-302387" defTabSz="1219170">
              <a:spcAft>
                <a:spcPts val="400"/>
              </a:spcAft>
            </a:pPr>
            <a:r>
              <a:rPr lang="ru-RU" sz="1600">
                <a:solidFill>
                  <a:srgbClr val="262626"/>
                </a:solidFill>
                <a:latin typeface="Arial"/>
              </a:rPr>
              <a:t>Подготовка и защита выпускной квалификационной работы</a:t>
            </a:r>
          </a:p>
        </p:txBody>
      </p:sp>
      <p:sp>
        <p:nvSpPr>
          <p:cNvPr id="542" name="Rectangle 114">
            <a:extLst>
              <a:ext uri="{FF2B5EF4-FFF2-40B4-BE49-F238E27FC236}">
                <a16:creationId xmlns:a16="http://schemas.microsoft.com/office/drawing/2014/main" id="{C3D0798A-4AD2-AE46-8DE9-69AD8C105870}"/>
              </a:ext>
            </a:extLst>
          </p:cNvPr>
          <p:cNvSpPr>
            <a:spLocks/>
          </p:cNvSpPr>
          <p:nvPr/>
        </p:nvSpPr>
        <p:spPr>
          <a:xfrm>
            <a:off x="11517921" y="5080466"/>
            <a:ext cx="3395232" cy="273254"/>
          </a:xfrm>
          <a:prstGeom prst="rect">
            <a:avLst/>
          </a:prstGeom>
          <a:solidFill>
            <a:srgbClr val="F0F0F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3" name="Rectangle 109">
            <a:extLst>
              <a:ext uri="{FF2B5EF4-FFF2-40B4-BE49-F238E27FC236}">
                <a16:creationId xmlns:a16="http://schemas.microsoft.com/office/drawing/2014/main" id="{775B3B6C-C1CD-E04D-8760-5ED3D32DE19D}"/>
              </a:ext>
            </a:extLst>
          </p:cNvPr>
          <p:cNvSpPr>
            <a:spLocks/>
          </p:cNvSpPr>
          <p:nvPr/>
        </p:nvSpPr>
        <p:spPr>
          <a:xfrm>
            <a:off x="7649206" y="2382955"/>
            <a:ext cx="7832183" cy="2044726"/>
          </a:xfrm>
          <a:prstGeom prst="rect">
            <a:avLst/>
          </a:prstGeom>
          <a:solidFill>
            <a:srgbClr val="F0F0F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4" name="Rectangle 101">
            <a:extLst>
              <a:ext uri="{FF2B5EF4-FFF2-40B4-BE49-F238E27FC236}">
                <a16:creationId xmlns:a16="http://schemas.microsoft.com/office/drawing/2014/main" id="{89F7EBCF-C93C-3E45-BA75-E4F9137A21DD}"/>
              </a:ext>
            </a:extLst>
          </p:cNvPr>
          <p:cNvSpPr>
            <a:spLocks/>
          </p:cNvSpPr>
          <p:nvPr/>
        </p:nvSpPr>
        <p:spPr>
          <a:xfrm>
            <a:off x="1009910" y="3804321"/>
            <a:ext cx="3106020" cy="639042"/>
          </a:xfrm>
          <a:prstGeom prst="rect">
            <a:avLst/>
          </a:prstGeom>
          <a:solidFill>
            <a:srgbClr val="F0F0F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5" name="Rectangle 102">
            <a:extLst>
              <a:ext uri="{FF2B5EF4-FFF2-40B4-BE49-F238E27FC236}">
                <a16:creationId xmlns:a16="http://schemas.microsoft.com/office/drawing/2014/main" id="{FCDE4BCC-302E-3747-BB1E-3BB6A786C39B}"/>
              </a:ext>
            </a:extLst>
          </p:cNvPr>
          <p:cNvSpPr>
            <a:spLocks/>
          </p:cNvSpPr>
          <p:nvPr/>
        </p:nvSpPr>
        <p:spPr>
          <a:xfrm>
            <a:off x="4213748" y="3809892"/>
            <a:ext cx="2983017" cy="614947"/>
          </a:xfrm>
          <a:prstGeom prst="rect">
            <a:avLst/>
          </a:prstGeom>
          <a:solidFill>
            <a:srgbClr val="F0F0F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6" name="Rectangle 100">
            <a:extLst>
              <a:ext uri="{FF2B5EF4-FFF2-40B4-BE49-F238E27FC236}">
                <a16:creationId xmlns:a16="http://schemas.microsoft.com/office/drawing/2014/main" id="{88AF0427-8F93-3741-BC0B-51EA7F9DD9D9}"/>
              </a:ext>
            </a:extLst>
          </p:cNvPr>
          <p:cNvSpPr>
            <a:spLocks/>
          </p:cNvSpPr>
          <p:nvPr/>
        </p:nvSpPr>
        <p:spPr>
          <a:xfrm>
            <a:off x="1010298" y="2460037"/>
            <a:ext cx="6186468" cy="1305921"/>
          </a:xfrm>
          <a:prstGeom prst="rect">
            <a:avLst/>
          </a:prstGeom>
          <a:solidFill>
            <a:srgbClr val="F0F0F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7" name="TextBox 546">
            <a:extLst>
              <a:ext uri="{FF2B5EF4-FFF2-40B4-BE49-F238E27FC236}">
                <a16:creationId xmlns:a16="http://schemas.microsoft.com/office/drawing/2014/main" id="{D88E4D0E-AAC9-7640-B709-730EC0CC86DB}"/>
              </a:ext>
            </a:extLst>
          </p:cNvPr>
          <p:cNvSpPr txBox="1"/>
          <p:nvPr/>
        </p:nvSpPr>
        <p:spPr>
          <a:xfrm>
            <a:off x="1264610" y="2504546"/>
            <a:ext cx="6186468" cy="49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lvl="1" indent="-302387" defTabSz="1219170">
              <a:spcAft>
                <a:spcPts val="400"/>
              </a:spcAft>
            </a:pPr>
            <a:r>
              <a:rPr lang="ru-RU" sz="1600">
                <a:solidFill>
                  <a:srgbClr val="262626"/>
                </a:solidFill>
                <a:latin typeface="Arial"/>
                <a:sym typeface="Arial" panose="020B0604020202020204" pitchFamily="34" charset="0"/>
              </a:rPr>
              <a:t>Финансовый анализ и новые бизнес-модели</a:t>
            </a:r>
            <a:br>
              <a:rPr lang="ru-RU" sz="1600">
                <a:solidFill>
                  <a:srgbClr val="262626"/>
                </a:solidFill>
                <a:latin typeface="Arial"/>
                <a:sym typeface="Arial" panose="020B0604020202020204" pitchFamily="34" charset="0"/>
              </a:rPr>
            </a:br>
            <a:r>
              <a:rPr lang="ru-RU" sz="1600">
                <a:solidFill>
                  <a:srgbClr val="262626"/>
                </a:solidFill>
                <a:latin typeface="Arial"/>
                <a:sym typeface="Arial" panose="020B0604020202020204" pitchFamily="34" charset="0"/>
              </a:rPr>
              <a:t>	</a:t>
            </a:r>
          </a:p>
        </p:txBody>
      </p:sp>
      <p:sp>
        <p:nvSpPr>
          <p:cNvPr id="548" name="Rectangle 85">
            <a:extLst>
              <a:ext uri="{FF2B5EF4-FFF2-40B4-BE49-F238E27FC236}">
                <a16:creationId xmlns:a16="http://schemas.microsoft.com/office/drawing/2014/main" id="{2BD8A98B-347B-DA4D-86FC-9917358BDB06}"/>
              </a:ext>
            </a:extLst>
          </p:cNvPr>
          <p:cNvSpPr>
            <a:spLocks/>
          </p:cNvSpPr>
          <p:nvPr/>
        </p:nvSpPr>
        <p:spPr>
          <a:xfrm>
            <a:off x="7561629" y="2374894"/>
            <a:ext cx="121907" cy="2051075"/>
          </a:xfrm>
          <a:prstGeom prst="rect">
            <a:avLst/>
          </a:prstGeom>
          <a:solidFill>
            <a:srgbClr val="CB2F0D">
              <a:lumMod val="60000"/>
              <a:lumOff val="40000"/>
            </a:srgbClr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9" name="Rectangle 85">
            <a:extLst>
              <a:ext uri="{FF2B5EF4-FFF2-40B4-BE49-F238E27FC236}">
                <a16:creationId xmlns:a16="http://schemas.microsoft.com/office/drawing/2014/main" id="{7BBD3747-096B-1048-9893-472ABADA6E18}"/>
              </a:ext>
            </a:extLst>
          </p:cNvPr>
          <p:cNvSpPr>
            <a:spLocks/>
          </p:cNvSpPr>
          <p:nvPr/>
        </p:nvSpPr>
        <p:spPr>
          <a:xfrm>
            <a:off x="1009913" y="2460035"/>
            <a:ext cx="144146" cy="1305923"/>
          </a:xfrm>
          <a:prstGeom prst="rect">
            <a:avLst/>
          </a:prstGeom>
          <a:solidFill>
            <a:srgbClr val="CB2F0D">
              <a:lumMod val="60000"/>
              <a:lumOff val="40000"/>
            </a:srgbClr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0" name="TextBox 549">
            <a:extLst>
              <a:ext uri="{FF2B5EF4-FFF2-40B4-BE49-F238E27FC236}">
                <a16:creationId xmlns:a16="http://schemas.microsoft.com/office/drawing/2014/main" id="{6C5DAB2D-3486-1E43-AC53-05217A8186AC}"/>
              </a:ext>
            </a:extLst>
          </p:cNvPr>
          <p:cNvSpPr txBox="1">
            <a:spLocks/>
          </p:cNvSpPr>
          <p:nvPr/>
        </p:nvSpPr>
        <p:spPr>
          <a:xfrm>
            <a:off x="1330291" y="3833763"/>
            <a:ext cx="2739307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4800" lvl="1" indent="0" defTabSz="1219170">
              <a:spcAft>
                <a:spcPts val="400"/>
              </a:spcAft>
              <a:buFont typeface="Wingdings" panose="05000000000000000000" pitchFamily="2" charset="2"/>
              <a:buNone/>
            </a:pPr>
            <a:r>
              <a:rPr lang="ru-RU" sz="1600">
                <a:solidFill>
                  <a:srgbClr val="262626"/>
                </a:solidFill>
                <a:latin typeface="Arial"/>
              </a:rPr>
              <a:t>НИС "Функциональный менеджмент"</a:t>
            </a:r>
          </a:p>
        </p:txBody>
      </p:sp>
      <p:sp>
        <p:nvSpPr>
          <p:cNvPr id="551" name="TextBox 550">
            <a:extLst>
              <a:ext uri="{FF2B5EF4-FFF2-40B4-BE49-F238E27FC236}">
                <a16:creationId xmlns:a16="http://schemas.microsoft.com/office/drawing/2014/main" id="{2F50CF6C-2580-3B49-B02C-48DED9265557}"/>
              </a:ext>
            </a:extLst>
          </p:cNvPr>
          <p:cNvSpPr txBox="1">
            <a:spLocks/>
          </p:cNvSpPr>
          <p:nvPr/>
        </p:nvSpPr>
        <p:spPr>
          <a:xfrm>
            <a:off x="4389980" y="3833763"/>
            <a:ext cx="2567997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4800" lvl="1" indent="0" defTabSz="1219170">
              <a:spcAft>
                <a:spcPts val="400"/>
              </a:spcAft>
              <a:buFont typeface="Wingdings" panose="05000000000000000000" pitchFamily="2" charset="2"/>
              <a:buNone/>
            </a:pPr>
            <a:r>
              <a:rPr lang="ru-RU" sz="1600">
                <a:solidFill>
                  <a:srgbClr val="262626"/>
                </a:solidFill>
                <a:latin typeface="Arial"/>
              </a:rPr>
              <a:t>НИС "Лидерство как личная стратегия"</a:t>
            </a:r>
          </a:p>
        </p:txBody>
      </p:sp>
      <p:sp>
        <p:nvSpPr>
          <p:cNvPr id="552" name="TextBox 551">
            <a:extLst>
              <a:ext uri="{FF2B5EF4-FFF2-40B4-BE49-F238E27FC236}">
                <a16:creationId xmlns:a16="http://schemas.microsoft.com/office/drawing/2014/main" id="{101FEF70-B99B-EF43-A67F-33C0A2B72CAC}"/>
              </a:ext>
            </a:extLst>
          </p:cNvPr>
          <p:cNvSpPr txBox="1"/>
          <p:nvPr/>
        </p:nvSpPr>
        <p:spPr>
          <a:xfrm>
            <a:off x="1264610" y="2843163"/>
            <a:ext cx="6186468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lvl="1" indent="-302387" defTabSz="1219170">
              <a:spcAft>
                <a:spcPts val="400"/>
              </a:spcAft>
            </a:pPr>
            <a:r>
              <a:rPr lang="ru-RU" sz="1600">
                <a:solidFill>
                  <a:srgbClr val="262626"/>
                </a:solidFill>
                <a:latin typeface="Arial"/>
                <a:sym typeface="Arial" panose="020B0604020202020204" pitchFamily="34" charset="0"/>
              </a:rPr>
              <a:t>Стратегический анализ/</a:t>
            </a:r>
            <a:r>
              <a:rPr lang="ru-RU" sz="1600" i="1">
                <a:solidFill>
                  <a:srgbClr val="262626"/>
                </a:solidFill>
                <a:latin typeface="Arial"/>
                <a:sym typeface="Arial" panose="020B0604020202020204" pitchFamily="34" charset="0"/>
              </a:rPr>
              <a:t>стратегическое мышление</a:t>
            </a:r>
            <a:endParaRPr lang="ru-RU" sz="1600">
              <a:solidFill>
                <a:srgbClr val="262626"/>
              </a:solidFill>
              <a:latin typeface="Arial"/>
              <a:sym typeface="Arial" panose="020B0604020202020204" pitchFamily="34" charset="0"/>
            </a:endParaRPr>
          </a:p>
        </p:txBody>
      </p:sp>
      <p:sp>
        <p:nvSpPr>
          <p:cNvPr id="553" name="TextBox 552">
            <a:extLst>
              <a:ext uri="{FF2B5EF4-FFF2-40B4-BE49-F238E27FC236}">
                <a16:creationId xmlns:a16="http://schemas.microsoft.com/office/drawing/2014/main" id="{D62E5F71-2280-F54E-A54A-48D820E15CB7}"/>
              </a:ext>
            </a:extLst>
          </p:cNvPr>
          <p:cNvSpPr txBox="1">
            <a:spLocks/>
          </p:cNvSpPr>
          <p:nvPr/>
        </p:nvSpPr>
        <p:spPr>
          <a:xfrm>
            <a:off x="11379552" y="2780918"/>
            <a:ext cx="3966304" cy="49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lvl="1" indent="-302387" defTabSz="1219170">
              <a:spcAft>
                <a:spcPts val="400"/>
              </a:spcAft>
            </a:pPr>
            <a:r>
              <a:rPr lang="ru-RU" sz="1600">
                <a:solidFill>
                  <a:srgbClr val="262626"/>
                </a:solidFill>
                <a:latin typeface="Arial"/>
                <a:sym typeface="Arial" panose="020B0604020202020204" pitchFamily="34" charset="0"/>
              </a:rPr>
              <a:t>Продвинутая аналитика и экосистемы данных в бизнесе</a:t>
            </a:r>
          </a:p>
        </p:txBody>
      </p:sp>
      <p:sp>
        <p:nvSpPr>
          <p:cNvPr id="554" name="TextBox 553">
            <a:extLst>
              <a:ext uri="{FF2B5EF4-FFF2-40B4-BE49-F238E27FC236}">
                <a16:creationId xmlns:a16="http://schemas.microsoft.com/office/drawing/2014/main" id="{2EEFDD8D-E4E2-654F-9D38-98C76F519016}"/>
              </a:ext>
            </a:extLst>
          </p:cNvPr>
          <p:cNvSpPr txBox="1">
            <a:spLocks/>
          </p:cNvSpPr>
          <p:nvPr/>
        </p:nvSpPr>
        <p:spPr>
          <a:xfrm>
            <a:off x="7728836" y="2752144"/>
            <a:ext cx="3710051" cy="49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lvl="1" indent="-302387" defTabSz="1219170">
              <a:spcAft>
                <a:spcPts val="400"/>
              </a:spcAft>
            </a:pPr>
            <a:r>
              <a:rPr lang="ru-RU" sz="1600">
                <a:solidFill>
                  <a:srgbClr val="262626"/>
                </a:solidFill>
                <a:latin typeface="Arial"/>
                <a:sym typeface="Arial" panose="020B0604020202020204" pitchFamily="34" charset="0"/>
              </a:rPr>
              <a:t>Стратегическое управление проектами</a:t>
            </a:r>
          </a:p>
        </p:txBody>
      </p:sp>
      <p:sp>
        <p:nvSpPr>
          <p:cNvPr id="555" name="TextBox 554">
            <a:extLst>
              <a:ext uri="{FF2B5EF4-FFF2-40B4-BE49-F238E27FC236}">
                <a16:creationId xmlns:a16="http://schemas.microsoft.com/office/drawing/2014/main" id="{A503E47E-110C-7943-AA02-D8EF77471B08}"/>
              </a:ext>
            </a:extLst>
          </p:cNvPr>
          <p:cNvSpPr txBox="1"/>
          <p:nvPr/>
        </p:nvSpPr>
        <p:spPr>
          <a:xfrm>
            <a:off x="1264610" y="3147963"/>
            <a:ext cx="6186468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lvl="1" indent="-302387" defTabSz="1219170">
              <a:spcAft>
                <a:spcPts val="400"/>
              </a:spcAft>
            </a:pPr>
            <a:r>
              <a:rPr lang="ru-RU" sz="1600">
                <a:solidFill>
                  <a:srgbClr val="262626"/>
                </a:solidFill>
                <a:latin typeface="Arial"/>
                <a:sym typeface="Arial" panose="020B0604020202020204" pitchFamily="34" charset="0"/>
              </a:rPr>
              <a:t>Управление цифровой трансформацией</a:t>
            </a:r>
          </a:p>
        </p:txBody>
      </p:sp>
      <p:sp>
        <p:nvSpPr>
          <p:cNvPr id="556" name="TextBox 555">
            <a:extLst>
              <a:ext uri="{FF2B5EF4-FFF2-40B4-BE49-F238E27FC236}">
                <a16:creationId xmlns:a16="http://schemas.microsoft.com/office/drawing/2014/main" id="{526E0929-2689-E247-9B32-4E893FD650D6}"/>
              </a:ext>
            </a:extLst>
          </p:cNvPr>
          <p:cNvSpPr txBox="1">
            <a:spLocks/>
          </p:cNvSpPr>
          <p:nvPr/>
        </p:nvSpPr>
        <p:spPr>
          <a:xfrm>
            <a:off x="11383980" y="3354899"/>
            <a:ext cx="3793599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lvl="1" indent="-302387" defTabSz="1219170">
              <a:spcAft>
                <a:spcPts val="400"/>
              </a:spcAft>
            </a:pPr>
            <a:r>
              <a:rPr lang="ru-RU" sz="1600">
                <a:solidFill>
                  <a:srgbClr val="262626"/>
                </a:solidFill>
                <a:latin typeface="Arial"/>
                <a:sym typeface="Arial" panose="020B0604020202020204" pitchFamily="34" charset="0"/>
              </a:rPr>
              <a:t>Управление цифровыми продуктами</a:t>
            </a:r>
          </a:p>
        </p:txBody>
      </p:sp>
      <p:sp>
        <p:nvSpPr>
          <p:cNvPr id="557" name="TextBox 556">
            <a:extLst>
              <a:ext uri="{FF2B5EF4-FFF2-40B4-BE49-F238E27FC236}">
                <a16:creationId xmlns:a16="http://schemas.microsoft.com/office/drawing/2014/main" id="{6DC57DAB-CD0D-DE42-A04D-BE5920BBC8A7}"/>
              </a:ext>
            </a:extLst>
          </p:cNvPr>
          <p:cNvSpPr txBox="1">
            <a:spLocks/>
          </p:cNvSpPr>
          <p:nvPr/>
        </p:nvSpPr>
        <p:spPr>
          <a:xfrm>
            <a:off x="7745418" y="3327149"/>
            <a:ext cx="3693469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lvl="1" indent="-302387" defTabSz="1219170">
              <a:spcAft>
                <a:spcPts val="400"/>
              </a:spcAft>
            </a:pPr>
            <a:r>
              <a:rPr lang="ru-RU" sz="1600">
                <a:solidFill>
                  <a:srgbClr val="262626"/>
                </a:solidFill>
                <a:latin typeface="Arial"/>
                <a:sym typeface="Arial" panose="020B0604020202020204" pitchFamily="34" charset="0"/>
              </a:rPr>
              <a:t>Операционная эффективность</a:t>
            </a:r>
          </a:p>
        </p:txBody>
      </p:sp>
      <p:grpSp>
        <p:nvGrpSpPr>
          <p:cNvPr id="558" name="Group 331">
            <a:extLst>
              <a:ext uri="{FF2B5EF4-FFF2-40B4-BE49-F238E27FC236}">
                <a16:creationId xmlns:a16="http://schemas.microsoft.com/office/drawing/2014/main" id="{7D6DC3DC-EE26-1B4A-9700-79A4AF3F193F}"/>
              </a:ext>
            </a:extLst>
          </p:cNvPr>
          <p:cNvGrpSpPr/>
          <p:nvPr/>
        </p:nvGrpSpPr>
        <p:grpSpPr>
          <a:xfrm>
            <a:off x="8227982" y="2092795"/>
            <a:ext cx="7027853" cy="282369"/>
            <a:chOff x="872962" y="2413726"/>
            <a:chExt cx="5270890" cy="211776"/>
          </a:xfrm>
        </p:grpSpPr>
        <p:grpSp>
          <p:nvGrpSpPr>
            <p:cNvPr id="559" name="Group 332">
              <a:extLst>
                <a:ext uri="{FF2B5EF4-FFF2-40B4-BE49-F238E27FC236}">
                  <a16:creationId xmlns:a16="http://schemas.microsoft.com/office/drawing/2014/main" id="{45318654-FB41-3D49-9216-0595BA2D2D36}"/>
                </a:ext>
              </a:extLst>
            </p:cNvPr>
            <p:cNvGrpSpPr>
              <a:grpSpLocks/>
            </p:cNvGrpSpPr>
            <p:nvPr/>
          </p:nvGrpSpPr>
          <p:grpSpPr>
            <a:xfrm>
              <a:off x="873253" y="2413726"/>
              <a:ext cx="5270599" cy="202841"/>
              <a:chOff x="457986" y="1201950"/>
              <a:chExt cx="2962792" cy="72832"/>
            </a:xfrm>
          </p:grpSpPr>
          <p:sp>
            <p:nvSpPr>
              <p:cNvPr id="561" name="TextBox 560">
                <a:extLst>
                  <a:ext uri="{FF2B5EF4-FFF2-40B4-BE49-F238E27FC236}">
                    <a16:creationId xmlns:a16="http://schemas.microsoft.com/office/drawing/2014/main" id="{D21DF4B9-CC85-CE40-A14E-ADFEC5C2A3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7986" y="1201950"/>
                <a:ext cx="2962792" cy="72832"/>
              </a:xfrm>
              <a:prstGeom prst="rect">
                <a:avLst/>
              </a:prstGeom>
            </p:spPr>
            <p:txBody>
              <a:bodyPr vert="horz" wrap="square" lIns="0" tIns="0" rIns="0" bIns="24000" rtlCol="0" anchor="b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Segoe UI" panose="020B0502040204020203" pitchFamily="34" charset="0"/>
                  <a:buChar char="​"/>
                  <a:defRPr lang="en-US" sz="1400" dirty="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230396" lvl="1" indent="-226796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rgbClr val="CB2F0D"/>
                  </a:buClr>
                  <a:buSzPct val="110000"/>
                  <a:buFont typeface="Wingdings" panose="05000000000000000000" pitchFamily="2" charset="2"/>
                  <a:buChar char="§"/>
                  <a:defRPr lang="en-US" sz="1400" dirty="0"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442793" lvl="2" indent="-215997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rgbClr val="CB2F0D"/>
                  </a:buClr>
                  <a:buSzPct val="110000"/>
                  <a:buFont typeface="Arial" panose="020B0604020202020204" pitchFamily="34" charset="0"/>
                  <a:buChar char="‒"/>
                  <a:defRPr lang="en-US" sz="1400" dirty="0"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597590" lvl="3" indent="-15119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rgbClr val="CB2F0D"/>
                  </a:buClr>
                  <a:buSzPct val="100000"/>
                  <a:buFont typeface="Arial" panose="020B0604020202020204" pitchFamily="34" charset="0"/>
                  <a:buChar char="•"/>
                  <a:defRPr lang="en-US" sz="1400" dirty="0"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817187" lvl="4" indent="-14759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rgbClr val="CB2F0D"/>
                  </a:buClr>
                  <a:buSzPct val="100000"/>
                  <a:buFont typeface="Arial" panose="020B0604020202020204" pitchFamily="34" charset="0"/>
                  <a:buChar char="̶"/>
                  <a:defRPr lang="en-US" sz="1400" dirty="0"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67"/>
                  </a:spcAft>
                  <a:buClrTx/>
                  <a:buSzTx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Arial"/>
                    <a:cs typeface="Arial" panose="020B0604020202020204" pitchFamily="34" charset="0"/>
                  </a:rPr>
                  <a:t>Специализации (выбор 1 из 2)</a:t>
                </a:r>
              </a:p>
            </p:txBody>
          </p:sp>
          <p:cxnSp>
            <p:nvCxnSpPr>
              <p:cNvPr id="562" name="Straight Connector 335">
                <a:extLst>
                  <a:ext uri="{FF2B5EF4-FFF2-40B4-BE49-F238E27FC236}">
                    <a16:creationId xmlns:a16="http://schemas.microsoft.com/office/drawing/2014/main" id="{6F5906FA-3ED1-8149-A434-D6BED7BAADF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7986" y="1274782"/>
                <a:ext cx="2962792" cy="0"/>
              </a:xfrm>
              <a:prstGeom prst="line">
                <a:avLst/>
              </a:prstGeom>
              <a:noFill/>
              <a:ln w="6350" cap="sq" cmpd="sng" algn="ctr">
                <a:solidFill>
                  <a:srgbClr val="262626"/>
                </a:solidFill>
                <a:prstDash val="solid"/>
                <a:miter lim="800000"/>
                <a:tailEnd type="none"/>
              </a:ln>
              <a:effectLst/>
            </p:spPr>
          </p:cxnSp>
        </p:grpSp>
        <p:sp>
          <p:nvSpPr>
            <p:cNvPr id="560" name="TextBox 559">
              <a:extLst>
                <a:ext uri="{FF2B5EF4-FFF2-40B4-BE49-F238E27FC236}">
                  <a16:creationId xmlns:a16="http://schemas.microsoft.com/office/drawing/2014/main" id="{9C53FE41-7B72-2140-B17B-C60D44D26E53}"/>
                </a:ext>
              </a:extLst>
            </p:cNvPr>
            <p:cNvSpPr txBox="1">
              <a:spLocks/>
            </p:cNvSpPr>
            <p:nvPr/>
          </p:nvSpPr>
          <p:spPr>
            <a:xfrm>
              <a:off x="872962" y="2422660"/>
              <a:ext cx="5270599" cy="202842"/>
            </a:xfrm>
            <a:prstGeom prst="rect">
              <a:avLst/>
            </a:prstGeom>
          </p:spPr>
          <p:txBody>
            <a:bodyPr vert="horz" wrap="square" lIns="0" tIns="0" rIns="0" bIns="2400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Wingdings" panose="05000000000000000000" pitchFamily="2" charset="2"/>
                <a:buChar char="§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Arial" panose="020B0604020202020204" pitchFamily="34" charset="0"/>
                <a:buChar char="‒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•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̶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endPara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 Black"/>
                <a:cs typeface="Arial" panose="020B0604020202020204" pitchFamily="34" charset="0"/>
              </a:endParaRPr>
            </a:p>
          </p:txBody>
        </p:sp>
      </p:grpSp>
      <p:grpSp>
        <p:nvGrpSpPr>
          <p:cNvPr id="563" name="Group 344">
            <a:extLst>
              <a:ext uri="{FF2B5EF4-FFF2-40B4-BE49-F238E27FC236}">
                <a16:creationId xmlns:a16="http://schemas.microsoft.com/office/drawing/2014/main" id="{E2D91D35-96E4-A24F-8BFB-1A723DEFFB46}"/>
              </a:ext>
            </a:extLst>
          </p:cNvPr>
          <p:cNvGrpSpPr/>
          <p:nvPr/>
        </p:nvGrpSpPr>
        <p:grpSpPr>
          <a:xfrm>
            <a:off x="1009909" y="2092795"/>
            <a:ext cx="7027853" cy="281273"/>
            <a:chOff x="872962" y="2417469"/>
            <a:chExt cx="5270890" cy="210954"/>
          </a:xfrm>
        </p:grpSpPr>
        <p:grpSp>
          <p:nvGrpSpPr>
            <p:cNvPr id="564" name="Group 345">
              <a:extLst>
                <a:ext uri="{FF2B5EF4-FFF2-40B4-BE49-F238E27FC236}">
                  <a16:creationId xmlns:a16="http://schemas.microsoft.com/office/drawing/2014/main" id="{4607F0C5-4C06-534E-A534-C0D7AA614BDC}"/>
                </a:ext>
              </a:extLst>
            </p:cNvPr>
            <p:cNvGrpSpPr>
              <a:grpSpLocks/>
            </p:cNvGrpSpPr>
            <p:nvPr/>
          </p:nvGrpSpPr>
          <p:grpSpPr>
            <a:xfrm>
              <a:off x="873253" y="2417469"/>
              <a:ext cx="5270599" cy="202841"/>
              <a:chOff x="457986" y="1201950"/>
              <a:chExt cx="2962792" cy="72832"/>
            </a:xfrm>
          </p:grpSpPr>
          <p:sp>
            <p:nvSpPr>
              <p:cNvPr id="566" name="TextBox 565">
                <a:extLst>
                  <a:ext uri="{FF2B5EF4-FFF2-40B4-BE49-F238E27FC236}">
                    <a16:creationId xmlns:a16="http://schemas.microsoft.com/office/drawing/2014/main" id="{029F4151-6087-044F-880B-662C9973BD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7986" y="1201950"/>
                <a:ext cx="2962792" cy="72832"/>
              </a:xfrm>
              <a:prstGeom prst="rect">
                <a:avLst/>
              </a:prstGeom>
            </p:spPr>
            <p:txBody>
              <a:bodyPr vert="horz" wrap="square" lIns="0" tIns="0" rIns="0" bIns="24000" rtlCol="0" anchor="b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Segoe UI" panose="020B0502040204020203" pitchFamily="34" charset="0"/>
                  <a:buChar char="​"/>
                  <a:defRPr lang="en-US" sz="1400" dirty="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230396" lvl="1" indent="-226796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rgbClr val="CB2F0D"/>
                  </a:buClr>
                  <a:buSzPct val="110000"/>
                  <a:buFont typeface="Wingdings" panose="05000000000000000000" pitchFamily="2" charset="2"/>
                  <a:buChar char="§"/>
                  <a:defRPr lang="en-US" sz="1400" dirty="0"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442793" lvl="2" indent="-215997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rgbClr val="CB2F0D"/>
                  </a:buClr>
                  <a:buSzPct val="110000"/>
                  <a:buFont typeface="Arial" panose="020B0604020202020204" pitchFamily="34" charset="0"/>
                  <a:buChar char="‒"/>
                  <a:defRPr lang="en-US" sz="1400" dirty="0"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597590" lvl="3" indent="-15119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rgbClr val="CB2F0D"/>
                  </a:buClr>
                  <a:buSzPct val="100000"/>
                  <a:buFont typeface="Arial" panose="020B0604020202020204" pitchFamily="34" charset="0"/>
                  <a:buChar char="•"/>
                  <a:defRPr lang="en-US" sz="1400" dirty="0"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817187" lvl="4" indent="-14759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rgbClr val="CB2F0D"/>
                  </a:buClr>
                  <a:buSzPct val="100000"/>
                  <a:buFont typeface="Arial" panose="020B0604020202020204" pitchFamily="34" charset="0"/>
                  <a:buChar char="̶"/>
                  <a:defRPr lang="en-US" sz="1400" dirty="0"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67"/>
                  </a:spcAft>
                  <a:buClrTx/>
                  <a:buSzTx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Arial"/>
                    <a:cs typeface="Arial" panose="020B0604020202020204" pitchFamily="34" charset="0"/>
                  </a:rPr>
                  <a:t>Базовые курсы</a:t>
                </a:r>
              </a:p>
            </p:txBody>
          </p:sp>
          <p:cxnSp>
            <p:nvCxnSpPr>
              <p:cNvPr id="567" name="Straight Connector 348">
                <a:extLst>
                  <a:ext uri="{FF2B5EF4-FFF2-40B4-BE49-F238E27FC236}">
                    <a16:creationId xmlns:a16="http://schemas.microsoft.com/office/drawing/2014/main" id="{5A05B6D7-5F39-D044-980A-7B68066790C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7986" y="1274782"/>
                <a:ext cx="2962792" cy="0"/>
              </a:xfrm>
              <a:prstGeom prst="line">
                <a:avLst/>
              </a:prstGeom>
              <a:noFill/>
              <a:ln w="6350" cap="sq" cmpd="sng" algn="ctr">
                <a:solidFill>
                  <a:srgbClr val="262626"/>
                </a:solidFill>
                <a:prstDash val="solid"/>
                <a:miter lim="800000"/>
                <a:tailEnd type="none"/>
              </a:ln>
              <a:effectLst/>
            </p:spPr>
          </p:cxnSp>
        </p:grpSp>
        <p:sp>
          <p:nvSpPr>
            <p:cNvPr id="565" name="TextBox 564">
              <a:extLst>
                <a:ext uri="{FF2B5EF4-FFF2-40B4-BE49-F238E27FC236}">
                  <a16:creationId xmlns:a16="http://schemas.microsoft.com/office/drawing/2014/main" id="{0F2E9941-C657-DB48-9481-C2C30A265B90}"/>
                </a:ext>
              </a:extLst>
            </p:cNvPr>
            <p:cNvSpPr txBox="1">
              <a:spLocks/>
            </p:cNvSpPr>
            <p:nvPr/>
          </p:nvSpPr>
          <p:spPr>
            <a:xfrm>
              <a:off x="872962" y="2426404"/>
              <a:ext cx="4639852" cy="202019"/>
            </a:xfrm>
            <a:prstGeom prst="rect">
              <a:avLst/>
            </a:prstGeom>
          </p:spPr>
          <p:txBody>
            <a:bodyPr vert="horz" wrap="square" lIns="0" tIns="0" rIns="0" bIns="2400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Wingdings" panose="05000000000000000000" pitchFamily="2" charset="2"/>
                <a:buChar char="§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10000"/>
                <a:buFont typeface="Arial" panose="020B0604020202020204" pitchFamily="34" charset="0"/>
                <a:buChar char="‒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•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CB2F0D"/>
                </a:buClr>
                <a:buSzPct val="100000"/>
                <a:buFont typeface="Arial" panose="020B0604020202020204" pitchFamily="34" charset="0"/>
                <a:buChar char="̶"/>
                <a:defRPr lang="en-US" sz="1400" dirty="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endPara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 Black"/>
                <a:cs typeface="Arial" panose="020B0604020202020204" pitchFamily="34" charset="0"/>
              </a:endParaRPr>
            </a:p>
          </p:txBody>
        </p:sp>
      </p:grpSp>
      <p:cxnSp>
        <p:nvCxnSpPr>
          <p:cNvPr id="568" name="Straight Connector 350">
            <a:extLst>
              <a:ext uri="{FF2B5EF4-FFF2-40B4-BE49-F238E27FC236}">
                <a16:creationId xmlns:a16="http://schemas.microsoft.com/office/drawing/2014/main" id="{4C74A275-F0C5-7D40-BFDA-E9FA620AAAE3}"/>
              </a:ext>
            </a:extLst>
          </p:cNvPr>
          <p:cNvCxnSpPr>
            <a:cxnSpLocks/>
          </p:cNvCxnSpPr>
          <p:nvPr/>
        </p:nvCxnSpPr>
        <p:spPr bwMode="gray">
          <a:xfrm>
            <a:off x="8131345" y="5059547"/>
            <a:ext cx="6773152" cy="0"/>
          </a:xfrm>
          <a:prstGeom prst="line">
            <a:avLst/>
          </a:prstGeom>
          <a:noFill/>
          <a:ln w="6350" cap="flat" cmpd="sng" algn="ctr">
            <a:solidFill>
              <a:srgbClr val="AFAFB1"/>
            </a:solidFill>
            <a:prstDash val="solid"/>
          </a:ln>
          <a:effectLst/>
        </p:spPr>
      </p:cxnSp>
      <p:sp>
        <p:nvSpPr>
          <p:cNvPr id="569" name="TextBox 568">
            <a:extLst>
              <a:ext uri="{FF2B5EF4-FFF2-40B4-BE49-F238E27FC236}">
                <a16:creationId xmlns:a16="http://schemas.microsoft.com/office/drawing/2014/main" id="{256A41CE-16FF-3F43-AEEB-957C9B74E5F2}"/>
              </a:ext>
            </a:extLst>
          </p:cNvPr>
          <p:cNvSpPr txBox="1">
            <a:spLocks/>
          </p:cNvSpPr>
          <p:nvPr/>
        </p:nvSpPr>
        <p:spPr>
          <a:xfrm>
            <a:off x="1264610" y="3452763"/>
            <a:ext cx="6186468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lvl="1" indent="-302387" defTabSz="1219170">
              <a:spcAft>
                <a:spcPts val="400"/>
              </a:spcAft>
            </a:pPr>
            <a:r>
              <a:rPr lang="ru-RU" sz="1600">
                <a:solidFill>
                  <a:srgbClr val="262626"/>
                </a:solidFill>
                <a:latin typeface="Arial"/>
                <a:sym typeface="Arial" panose="020B0604020202020204" pitchFamily="34" charset="0"/>
              </a:rPr>
              <a:t>Статистика и инструменты анализа данных</a:t>
            </a:r>
          </a:p>
        </p:txBody>
      </p:sp>
      <p:sp>
        <p:nvSpPr>
          <p:cNvPr id="570" name="TextBox 569">
            <a:extLst>
              <a:ext uri="{FF2B5EF4-FFF2-40B4-BE49-F238E27FC236}">
                <a16:creationId xmlns:a16="http://schemas.microsoft.com/office/drawing/2014/main" id="{A5A27D81-1124-8447-96FD-59C21B8A1643}"/>
              </a:ext>
            </a:extLst>
          </p:cNvPr>
          <p:cNvSpPr txBox="1">
            <a:spLocks/>
          </p:cNvSpPr>
          <p:nvPr/>
        </p:nvSpPr>
        <p:spPr>
          <a:xfrm>
            <a:off x="11383979" y="3753520"/>
            <a:ext cx="3793599" cy="49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Цифровая стратегия и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цифровое право</a:t>
            </a:r>
          </a:p>
        </p:txBody>
      </p:sp>
      <p:sp>
        <p:nvSpPr>
          <p:cNvPr id="571" name="TextBox 570">
            <a:extLst>
              <a:ext uri="{FF2B5EF4-FFF2-40B4-BE49-F238E27FC236}">
                <a16:creationId xmlns:a16="http://schemas.microsoft.com/office/drawing/2014/main" id="{1BCD24E2-6073-1F48-A384-2844D02C902F}"/>
              </a:ext>
            </a:extLst>
          </p:cNvPr>
          <p:cNvSpPr txBox="1">
            <a:spLocks/>
          </p:cNvSpPr>
          <p:nvPr/>
        </p:nvSpPr>
        <p:spPr>
          <a:xfrm>
            <a:off x="7745418" y="3719439"/>
            <a:ext cx="3493438" cy="49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07187" marR="0" lvl="1" indent="-302387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Управление каналами и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процессом продаж</a:t>
            </a:r>
          </a:p>
        </p:txBody>
      </p:sp>
      <p:sp>
        <p:nvSpPr>
          <p:cNvPr id="572" name="TextBox 571">
            <a:extLst>
              <a:ext uri="{FF2B5EF4-FFF2-40B4-BE49-F238E27FC236}">
                <a16:creationId xmlns:a16="http://schemas.microsoft.com/office/drawing/2014/main" id="{E5D4C746-4F6F-0246-9C93-5E700A6184EC}"/>
              </a:ext>
            </a:extLst>
          </p:cNvPr>
          <p:cNvSpPr txBox="1">
            <a:spLocks/>
          </p:cNvSpPr>
          <p:nvPr/>
        </p:nvSpPr>
        <p:spPr>
          <a:xfrm>
            <a:off x="8102586" y="2455016"/>
            <a:ext cx="3325992" cy="270456"/>
          </a:xfrm>
          <a:prstGeom prst="rect">
            <a:avLst/>
          </a:prstGeom>
        </p:spPr>
        <p:txBody>
          <a:bodyPr vert="horz" wrap="square" lIns="0" tIns="0" rIns="0" bIns="2400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1219170">
              <a:spcBef>
                <a:spcPts val="0"/>
              </a:spcBef>
              <a:spcAft>
                <a:spcPts val="267"/>
              </a:spcAft>
            </a:pPr>
            <a:r>
              <a:rPr lang="ru-RU" sz="1600" b="1">
                <a:solidFill>
                  <a:srgbClr val="262626"/>
                </a:solidFill>
                <a:latin typeface="Arial"/>
              </a:rPr>
              <a:t>Стратегии развития бизнеса</a:t>
            </a:r>
            <a:r>
              <a:rPr lang="ru-RU" sz="1600" b="1">
                <a:solidFill>
                  <a:srgbClr val="262626"/>
                </a:solidFill>
                <a:latin typeface="Arial Black"/>
              </a:rPr>
              <a:t> </a:t>
            </a:r>
          </a:p>
        </p:txBody>
      </p:sp>
      <p:sp>
        <p:nvSpPr>
          <p:cNvPr id="573" name="TextBox 572">
            <a:extLst>
              <a:ext uri="{FF2B5EF4-FFF2-40B4-BE49-F238E27FC236}">
                <a16:creationId xmlns:a16="http://schemas.microsoft.com/office/drawing/2014/main" id="{D8159E63-7F1A-F04F-97B0-9AB117DAC2CF}"/>
              </a:ext>
            </a:extLst>
          </p:cNvPr>
          <p:cNvSpPr txBox="1">
            <a:spLocks/>
          </p:cNvSpPr>
          <p:nvPr/>
        </p:nvSpPr>
        <p:spPr>
          <a:xfrm>
            <a:off x="11924007" y="2444406"/>
            <a:ext cx="3325992" cy="270456"/>
          </a:xfrm>
          <a:prstGeom prst="rect">
            <a:avLst/>
          </a:prstGeom>
        </p:spPr>
        <p:txBody>
          <a:bodyPr vert="horz" wrap="square" lIns="0" tIns="0" rIns="0" bIns="2400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1219170">
              <a:spcBef>
                <a:spcPts val="0"/>
              </a:spcBef>
              <a:spcAft>
                <a:spcPts val="267"/>
              </a:spcAft>
            </a:pPr>
            <a:r>
              <a:rPr lang="ru-RU" sz="1600" b="1">
                <a:solidFill>
                  <a:srgbClr val="262626"/>
                </a:solidFill>
                <a:latin typeface="Arial"/>
              </a:rPr>
              <a:t>Цифровая трансформация</a:t>
            </a:r>
          </a:p>
        </p:txBody>
      </p:sp>
      <p:sp>
        <p:nvSpPr>
          <p:cNvPr id="574" name="TextBox 573">
            <a:extLst>
              <a:ext uri="{FF2B5EF4-FFF2-40B4-BE49-F238E27FC236}">
                <a16:creationId xmlns:a16="http://schemas.microsoft.com/office/drawing/2014/main" id="{8A790702-9473-5D4C-9AF5-EE9404F622C0}"/>
              </a:ext>
            </a:extLst>
          </p:cNvPr>
          <p:cNvSpPr txBox="1"/>
          <p:nvPr/>
        </p:nvSpPr>
        <p:spPr>
          <a:xfrm rot="16200000">
            <a:off x="-367025" y="2963267"/>
            <a:ext cx="1996273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 defTabSz="1219170">
              <a:spcBef>
                <a:spcPts val="400"/>
              </a:spcBef>
              <a:spcAft>
                <a:spcPts val="400"/>
              </a:spcAft>
            </a:pPr>
            <a:r>
              <a:rPr lang="ru-RU" sz="1600">
                <a:solidFill>
                  <a:srgbClr val="CB2F0D"/>
                </a:solidFill>
                <a:latin typeface="Arial Black"/>
              </a:rPr>
              <a:t>1 курс</a:t>
            </a:r>
          </a:p>
        </p:txBody>
      </p:sp>
      <p:cxnSp>
        <p:nvCxnSpPr>
          <p:cNvPr id="575" name="Прямая соединительная линия 574">
            <a:extLst>
              <a:ext uri="{FF2B5EF4-FFF2-40B4-BE49-F238E27FC236}">
                <a16:creationId xmlns:a16="http://schemas.microsoft.com/office/drawing/2014/main" id="{94090D07-B130-2147-AE77-838074FA80BE}"/>
              </a:ext>
            </a:extLst>
          </p:cNvPr>
          <p:cNvCxnSpPr/>
          <p:nvPr/>
        </p:nvCxnSpPr>
        <p:spPr>
          <a:xfrm>
            <a:off x="538218" y="4591720"/>
            <a:ext cx="14943171" cy="0"/>
          </a:xfrm>
          <a:prstGeom prst="line">
            <a:avLst/>
          </a:prstGeom>
          <a:noFill/>
          <a:ln w="28575" cap="sq" cmpd="sng" algn="ctr">
            <a:solidFill>
              <a:srgbClr val="CB2F0D"/>
            </a:solidFill>
            <a:prstDash val="solid"/>
            <a:miter lim="800000"/>
            <a:tailEnd type="none"/>
          </a:ln>
          <a:effectLst/>
        </p:spPr>
      </p:cxnSp>
      <p:sp>
        <p:nvSpPr>
          <p:cNvPr id="576" name="TextBox 575">
            <a:extLst>
              <a:ext uri="{FF2B5EF4-FFF2-40B4-BE49-F238E27FC236}">
                <a16:creationId xmlns:a16="http://schemas.microsoft.com/office/drawing/2014/main" id="{2373ED82-ED0A-1648-8885-CFB84CBC07E5}"/>
              </a:ext>
            </a:extLst>
          </p:cNvPr>
          <p:cNvSpPr txBox="1">
            <a:spLocks/>
          </p:cNvSpPr>
          <p:nvPr/>
        </p:nvSpPr>
        <p:spPr>
          <a:xfrm>
            <a:off x="8278403" y="4657937"/>
            <a:ext cx="7027465" cy="270455"/>
          </a:xfrm>
          <a:prstGeom prst="rect">
            <a:avLst/>
          </a:prstGeom>
        </p:spPr>
        <p:txBody>
          <a:bodyPr vert="horz" wrap="square" lIns="0" tIns="0" rIns="0" bIns="2400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Wingdings" panose="05000000000000000000" pitchFamily="2" charset="2"/>
              <a:buChar char="§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CB2F0D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Отраслевые специфики (выбор 2 из 4)</a:t>
            </a:r>
          </a:p>
        </p:txBody>
      </p:sp>
    </p:spTree>
    <p:extLst>
      <p:ext uri="{BB962C8B-B14F-4D97-AF65-F5344CB8AC3E}">
        <p14:creationId xmlns:p14="http://schemas.microsoft.com/office/powerpoint/2010/main" val="18572799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3Quate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LmQBURrvyJnXYZmdAA6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LmQBURrvyJnXYZmdAA6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11_XAcQOHvOKOYDJET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StatusGauge"/>
  <p:tag name="NAME" val="StatusGaug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StatusGauge"/>
  <p:tag name="CIRCLESTATUS" val="White"/>
  <p:tag name="NAME" val="StatusGaugeWhi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CIRCLESTATUS" val="White"/>
  <p:tag name="NAME" val="CheckmarkWhi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Dash"/>
  <p:tag name="NAME" val="CheckmarkDash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CIRCLESTATUS" val="White"/>
  <p:tag name="NAME" val="XWhi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NAME" val="Chevr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XfF.JdVL2jT04VXQvu0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White"/>
  <p:tag name="NAME" val="ChevronWhi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LineArrow"/>
  <p:tag name="NAME" val="LineArr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LineArrow"/>
  <p:tag name="CIRCLESTATUS" val="White"/>
  <p:tag name="NAME" val="LineArrowWhi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Filter"/>
  <p:tag name="NAME" val="Filt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Filter"/>
  <p:tag name="CIRCLESTATUS" val="White"/>
  <p:tag name="NAME" val="FilterWhi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estionMark"/>
  <p:tag name="NAME" val="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Asterisk"/>
  <p:tag name="NAME" val="Asteris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ExclamationMark"/>
  <p:tag name="NAME" val="Exclama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otationMarks"/>
  <p:tag name="NAME" val="QuotationMark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estionMark"/>
  <p:tag name="CIRCLESTATUS" val="White"/>
  <p:tag name="NAME" val="QuestionMarkWhi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Asterisk"/>
  <p:tag name="CIRCLESTATUS" val="White"/>
  <p:tag name="NAME" val="AsteriskWhi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ExclamationMark"/>
  <p:tag name="CIRCLESTATUS" val="White"/>
  <p:tag name="NAME" val="ExclamationMarkWhi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otationMarks"/>
  <p:tag name="CIRCLESTATUS" val="White"/>
  <p:tag name="NAME" val="QuotationMarksWhi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PlusSign"/>
  <p:tag name="NAME" val="PlusSig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EqualSign"/>
  <p:tag name="NAME" val="EqualSig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MinusSign"/>
  <p:tag name="NAME" val="MinusSig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PlusSign"/>
  <p:tag name="CIRCLESTATUS" val="White"/>
  <p:tag name="NAME" val="PlusSignWhi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CIRCLESTATUS" val="White"/>
  <p:tag name="NAME" val="XWhi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EqualSign"/>
  <p:tag name="CIRCLESTATUS" val="White"/>
  <p:tag name="NAME" val="EqualSignWhi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MinusSign"/>
  <p:tag name="CIRCLESTATUS" val="White"/>
  <p:tag name="NAME" val="MinusSignWhi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Bl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Dash"/>
  <p:tag name="CIRCLESTATUS" val="White"/>
  <p:tag name="NAME" val="CheckmarkDashWhi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b0NAI87vxZaEikmUQ01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11_XAcQOHvOKOYDJETx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Empty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dA9zyKqjNnVssjIIg5V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ps88bL9NjerThf5puqc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Quat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2Ihl4dtX4H6k9XHsZCk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AjuwGRWRvdo9HkUXO43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aseform V2_NVI_2020">
  <a:themeElements>
    <a:clrScheme name="HSE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CB2F0D"/>
      </a:accent1>
      <a:accent2>
        <a:srgbClr val="27295E"/>
      </a:accent2>
      <a:accent3>
        <a:srgbClr val="F0F0F0"/>
      </a:accent3>
      <a:accent4>
        <a:srgbClr val="AFAFB1"/>
      </a:accent4>
      <a:accent5>
        <a:srgbClr val="077B71"/>
      </a:accent5>
      <a:accent6>
        <a:srgbClr val="9C60B2"/>
      </a:accent6>
      <a:hlink>
        <a:srgbClr val="CB2F0D"/>
      </a:hlink>
      <a:folHlink>
        <a:srgbClr val="B4B4B4"/>
      </a:folHlink>
    </a:clrScheme>
    <a:fontScheme name="Custom 2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8A62A"/>
        </a:accent1>
        <a:accent2>
          <a:srgbClr val="E61801"/>
        </a:accent2>
        <a:accent3>
          <a:srgbClr val="78B617"/>
        </a:accent3>
        <a:accent4>
          <a:srgbClr val="9F0D02"/>
        </a:accent4>
        <a:accent5>
          <a:srgbClr val="E3E5E6"/>
        </a:accent5>
        <a:accent6>
          <a:srgbClr val="808080"/>
        </a:accent6>
        <a:hlink>
          <a:srgbClr val="4B8FD2"/>
        </a:hlink>
        <a:folHlink>
          <a:srgbClr val="B6869E"/>
        </a:folHlink>
      </a:clrScheme>
    </a:extraClrScheme>
  </a:extraClrSchemeLst>
  <a:custClrLst>
    <a:custClr name="Custom 1">
      <a:srgbClr val="4D4D4D"/>
    </a:custClr>
    <a:custClr name="Custom 2">
      <a:srgbClr val="7F7F7F"/>
    </a:custClr>
    <a:custClr name="Custom 3">
      <a:srgbClr val="B3B3B3"/>
    </a:custClr>
    <a:custClr name="Custom 4">
      <a:srgbClr val="D0D0D0"/>
    </a:custClr>
    <a:custClr name="Custom 5">
      <a:srgbClr val="E6E6E6"/>
    </a:custClr>
    <a:custClr name="Custom 6">
      <a:srgbClr val="0B0050"/>
    </a:custClr>
  </a:custClrLst>
  <a:extLst>
    <a:ext uri="{05A4C25C-085E-4340-85A3-A5531E510DB2}">
      <thm15:themeFamily xmlns:thm15="http://schemas.microsoft.com/office/thememl/2012/main" name="ВШБ НИУ ВШЭ_HSB_NVI_16x9_(2021).potx" id="{9822FB31-0BA8-4762-8E7A-FBB563A3F185}" vid="{102BC53D-1051-4FCF-AB02-5F1F48B9C2E7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08</TotalTime>
  <Words>545</Words>
  <Application>Microsoft Macintosh PowerPoint</Application>
  <PresentationFormat>Произвольный</PresentationFormat>
  <Paragraphs>88</Paragraphs>
  <Slides>4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5" baseType="lpstr">
      <vt:lpstr>Arial</vt:lpstr>
      <vt:lpstr>Arial Black</vt:lpstr>
      <vt:lpstr>Calibri</vt:lpstr>
      <vt:lpstr>HSE Sans</vt:lpstr>
      <vt:lpstr>Myriad Pro</vt:lpstr>
      <vt:lpstr>Myriad Pro Black</vt:lpstr>
      <vt:lpstr>Segoe UI</vt:lpstr>
      <vt:lpstr>Wingdings</vt:lpstr>
      <vt:lpstr>Office Theme</vt:lpstr>
      <vt:lpstr>Baseform V2_NVI_2020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na</dc:creator>
  <cp:lastModifiedBy>Dynin A</cp:lastModifiedBy>
  <cp:revision>94</cp:revision>
  <cp:lastPrinted>2020-09-22T08:47:57Z</cp:lastPrinted>
  <dcterms:created xsi:type="dcterms:W3CDTF">2020-08-14T05:17:42Z</dcterms:created>
  <dcterms:modified xsi:type="dcterms:W3CDTF">2021-06-03T06:48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08-14T00:00:00Z</vt:filetime>
  </property>
  <property fmtid="{D5CDD505-2E9C-101B-9397-08002B2CF9AE}" pid="3" name="Creator">
    <vt:lpwstr>Adobe InDesign 15.0 (Windows)</vt:lpwstr>
  </property>
  <property fmtid="{D5CDD505-2E9C-101B-9397-08002B2CF9AE}" pid="4" name="LastSaved">
    <vt:filetime>2020-08-14T00:00:00Z</vt:filetime>
  </property>
</Properties>
</file>